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99" r:id="rId6"/>
    <p:sldMasterId id="2147483717" r:id="rId7"/>
  </p:sldMasterIdLst>
  <p:sldIdLst>
    <p:sldId id="2146845380" r:id="rId8"/>
    <p:sldId id="2146845404" r:id="rId9"/>
    <p:sldId id="2146845405" r:id="rId10"/>
    <p:sldId id="2146845379" r:id="rId11"/>
    <p:sldId id="2146845398" r:id="rId12"/>
    <p:sldId id="2146845399" r:id="rId13"/>
    <p:sldId id="2146845392" r:id="rId14"/>
    <p:sldId id="2146845383" r:id="rId15"/>
    <p:sldId id="2146845391" r:id="rId16"/>
    <p:sldId id="2146845406" r:id="rId17"/>
    <p:sldId id="2146845407" r:id="rId18"/>
    <p:sldId id="2146845408" r:id="rId19"/>
    <p:sldId id="2146845410" r:id="rId20"/>
    <p:sldId id="2146845411" r:id="rId21"/>
    <p:sldId id="2146845412" r:id="rId22"/>
    <p:sldId id="2146845413" r:id="rId23"/>
    <p:sldId id="2146845409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8873A3-C7F3-4857-BEFC-B610670063CB}" v="28" dt="2021-04-14T14:28:09.318"/>
    <p1510:client id="{4FCBD0A5-9438-8849-9FC9-6FEEF2A2BE55}" v="629" dt="2021-04-15T13:37:01.34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716"/>
  </p:normalViewPr>
  <p:slideViewPr>
    <p:cSldViewPr snapToGrid="0">
      <p:cViewPr varScale="1">
        <p:scale>
          <a:sx n="103" d="100"/>
          <a:sy n="103" d="100"/>
        </p:scale>
        <p:origin x="89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reth Allott" userId="d67bc1e7-5e6e-4540-bcf9-468a02f7a83e" providerId="ADAL" clId="{3A8873A3-C7F3-4857-BEFC-B610670063CB}"/>
    <pc:docChg chg="undo custSel addSld delSld modSld sldOrd">
      <pc:chgData name="Gareth Allott" userId="d67bc1e7-5e6e-4540-bcf9-468a02f7a83e" providerId="ADAL" clId="{3A8873A3-C7F3-4857-BEFC-B610670063CB}" dt="2021-04-14T14:28:20.223" v="1186" actId="1076"/>
      <pc:docMkLst>
        <pc:docMk/>
      </pc:docMkLst>
      <pc:sldChg chg="del">
        <pc:chgData name="Gareth Allott" userId="d67bc1e7-5e6e-4540-bcf9-468a02f7a83e" providerId="ADAL" clId="{3A8873A3-C7F3-4857-BEFC-B610670063CB}" dt="2021-04-07T12:42:01.058" v="56" actId="47"/>
        <pc:sldMkLst>
          <pc:docMk/>
          <pc:sldMk cId="2302360611" sldId="2146845377"/>
        </pc:sldMkLst>
      </pc:sldChg>
      <pc:sldChg chg="delSp modSp mod">
        <pc:chgData name="Gareth Allott" userId="d67bc1e7-5e6e-4540-bcf9-468a02f7a83e" providerId="ADAL" clId="{3A8873A3-C7F3-4857-BEFC-B610670063CB}" dt="2021-04-07T12:42:54.454" v="58" actId="1076"/>
        <pc:sldMkLst>
          <pc:docMk/>
          <pc:sldMk cId="1032670216" sldId="2146845379"/>
        </pc:sldMkLst>
        <pc:spChg chg="del">
          <ac:chgData name="Gareth Allott" userId="d67bc1e7-5e6e-4540-bcf9-468a02f7a83e" providerId="ADAL" clId="{3A8873A3-C7F3-4857-BEFC-B610670063CB}" dt="2021-04-05T15:48:52.821" v="14" actId="478"/>
          <ac:spMkLst>
            <pc:docMk/>
            <pc:sldMk cId="1032670216" sldId="2146845379"/>
            <ac:spMk id="2" creationId="{CCE77CFC-5031-4416-BB95-9E1404DD1560}"/>
          </ac:spMkLst>
        </pc:spChg>
        <pc:spChg chg="mod">
          <ac:chgData name="Gareth Allott" userId="d67bc1e7-5e6e-4540-bcf9-468a02f7a83e" providerId="ADAL" clId="{3A8873A3-C7F3-4857-BEFC-B610670063CB}" dt="2021-04-05T15:48:45.715" v="11" actId="13926"/>
          <ac:spMkLst>
            <pc:docMk/>
            <pc:sldMk cId="1032670216" sldId="2146845379"/>
            <ac:spMk id="5" creationId="{21930B4E-309D-4A59-94DD-37775FE9B2C3}"/>
          </ac:spMkLst>
        </pc:spChg>
        <pc:spChg chg="mod">
          <ac:chgData name="Gareth Allott" userId="d67bc1e7-5e6e-4540-bcf9-468a02f7a83e" providerId="ADAL" clId="{3A8873A3-C7F3-4857-BEFC-B610670063CB}" dt="2021-04-05T15:48:49.309" v="13"/>
          <ac:spMkLst>
            <pc:docMk/>
            <pc:sldMk cId="1032670216" sldId="2146845379"/>
            <ac:spMk id="6" creationId="{3DBA0410-5795-45EC-893C-8C933CAC3795}"/>
          </ac:spMkLst>
        </pc:spChg>
        <pc:spChg chg="del">
          <ac:chgData name="Gareth Allott" userId="d67bc1e7-5e6e-4540-bcf9-468a02f7a83e" providerId="ADAL" clId="{3A8873A3-C7F3-4857-BEFC-B610670063CB}" dt="2021-04-05T15:49:06.774" v="30" actId="478"/>
          <ac:spMkLst>
            <pc:docMk/>
            <pc:sldMk cId="1032670216" sldId="2146845379"/>
            <ac:spMk id="10" creationId="{AC9430DD-C023-4969-8F1B-B6A543AD67BA}"/>
          </ac:spMkLst>
        </pc:spChg>
        <pc:spChg chg="mod">
          <ac:chgData name="Gareth Allott" userId="d67bc1e7-5e6e-4540-bcf9-468a02f7a83e" providerId="ADAL" clId="{3A8873A3-C7F3-4857-BEFC-B610670063CB}" dt="2021-04-05T15:49:04.323" v="29" actId="20577"/>
          <ac:spMkLst>
            <pc:docMk/>
            <pc:sldMk cId="1032670216" sldId="2146845379"/>
            <ac:spMk id="13" creationId="{6B5CFAFF-68AD-43DB-9B0B-B50E8CC84109}"/>
          </ac:spMkLst>
        </pc:spChg>
        <pc:picChg chg="mod">
          <ac:chgData name="Gareth Allott" userId="d67bc1e7-5e6e-4540-bcf9-468a02f7a83e" providerId="ADAL" clId="{3A8873A3-C7F3-4857-BEFC-B610670063CB}" dt="2021-04-07T12:42:54.454" v="58" actId="1076"/>
          <ac:picMkLst>
            <pc:docMk/>
            <pc:sldMk cId="1032670216" sldId="2146845379"/>
            <ac:picMk id="9" creationId="{B62A6A67-3FA7-40A1-A17F-FC2F65CCC18C}"/>
          </ac:picMkLst>
        </pc:picChg>
        <pc:picChg chg="del">
          <ac:chgData name="Gareth Allott" userId="d67bc1e7-5e6e-4540-bcf9-468a02f7a83e" providerId="ADAL" clId="{3A8873A3-C7F3-4857-BEFC-B610670063CB}" dt="2021-04-05T15:49:06.774" v="30" actId="478"/>
          <ac:picMkLst>
            <pc:docMk/>
            <pc:sldMk cId="1032670216" sldId="2146845379"/>
            <ac:picMk id="15" creationId="{3098443B-9CEB-4C73-95B9-08488670EF0D}"/>
          </ac:picMkLst>
        </pc:picChg>
      </pc:sldChg>
      <pc:sldChg chg="addSp delSp modSp mod">
        <pc:chgData name="Gareth Allott" userId="d67bc1e7-5e6e-4540-bcf9-468a02f7a83e" providerId="ADAL" clId="{3A8873A3-C7F3-4857-BEFC-B610670063CB}" dt="2021-04-14T14:28:20.223" v="1186" actId="1076"/>
        <pc:sldMkLst>
          <pc:docMk/>
          <pc:sldMk cId="636563377" sldId="2146845380"/>
        </pc:sldMkLst>
        <pc:spChg chg="mod">
          <ac:chgData name="Gareth Allott" userId="d67bc1e7-5e6e-4540-bcf9-468a02f7a83e" providerId="ADAL" clId="{3A8873A3-C7F3-4857-BEFC-B610670063CB}" dt="2021-04-14T14:27:37.810" v="1177" actId="20577"/>
          <ac:spMkLst>
            <pc:docMk/>
            <pc:sldMk cId="636563377" sldId="2146845380"/>
            <ac:spMk id="13" creationId="{2469A092-A161-4D41-88A5-0ACDFCE29DF5}"/>
          </ac:spMkLst>
        </pc:spChg>
        <pc:picChg chg="add mod">
          <ac:chgData name="Gareth Allott" userId="d67bc1e7-5e6e-4540-bcf9-468a02f7a83e" providerId="ADAL" clId="{3A8873A3-C7F3-4857-BEFC-B610670063CB}" dt="2021-04-14T14:28:20.223" v="1186" actId="1076"/>
          <ac:picMkLst>
            <pc:docMk/>
            <pc:sldMk cId="636563377" sldId="2146845380"/>
            <ac:picMk id="4" creationId="{0796B46A-B836-49EE-B563-6CBA1948619A}"/>
          </ac:picMkLst>
        </pc:picChg>
        <pc:cxnChg chg="del">
          <ac:chgData name="Gareth Allott" userId="d67bc1e7-5e6e-4540-bcf9-468a02f7a83e" providerId="ADAL" clId="{3A8873A3-C7F3-4857-BEFC-B610670063CB}" dt="2021-04-14T14:27:40.874" v="1178" actId="478"/>
          <ac:cxnSpMkLst>
            <pc:docMk/>
            <pc:sldMk cId="636563377" sldId="2146845380"/>
            <ac:cxnSpMk id="14" creationId="{61992EF8-3C27-42E1-B089-917F5A790DD1}"/>
          </ac:cxnSpMkLst>
        </pc:cxnChg>
      </pc:sldChg>
      <pc:sldChg chg="add del">
        <pc:chgData name="Gareth Allott" userId="d67bc1e7-5e6e-4540-bcf9-468a02f7a83e" providerId="ADAL" clId="{3A8873A3-C7F3-4857-BEFC-B610670063CB}" dt="2021-04-05T15:46:37.263" v="10"/>
        <pc:sldMkLst>
          <pc:docMk/>
          <pc:sldMk cId="3366910351" sldId="2146845383"/>
        </pc:sldMkLst>
      </pc:sldChg>
      <pc:sldChg chg="add del">
        <pc:chgData name="Gareth Allott" userId="d67bc1e7-5e6e-4540-bcf9-468a02f7a83e" providerId="ADAL" clId="{3A8873A3-C7F3-4857-BEFC-B610670063CB}" dt="2021-04-05T15:46:37.263" v="10"/>
        <pc:sldMkLst>
          <pc:docMk/>
          <pc:sldMk cId="4096319990" sldId="2146845392"/>
        </pc:sldMkLst>
      </pc:sldChg>
      <pc:sldChg chg="modSp mod">
        <pc:chgData name="Gareth Allott" userId="d67bc1e7-5e6e-4540-bcf9-468a02f7a83e" providerId="ADAL" clId="{3A8873A3-C7F3-4857-BEFC-B610670063CB}" dt="2021-04-05T15:51:31.671" v="39" actId="20577"/>
        <pc:sldMkLst>
          <pc:docMk/>
          <pc:sldMk cId="3786229988" sldId="2146845404"/>
        </pc:sldMkLst>
        <pc:spChg chg="mod">
          <ac:chgData name="Gareth Allott" userId="d67bc1e7-5e6e-4540-bcf9-468a02f7a83e" providerId="ADAL" clId="{3A8873A3-C7F3-4857-BEFC-B610670063CB}" dt="2021-04-05T15:51:31.671" v="39" actId="20577"/>
          <ac:spMkLst>
            <pc:docMk/>
            <pc:sldMk cId="3786229988" sldId="2146845404"/>
            <ac:spMk id="3" creationId="{A98E76C1-8EF9-40A9-9960-DA90F9EA969C}"/>
          </ac:spMkLst>
        </pc:spChg>
      </pc:sldChg>
      <pc:sldChg chg="addSp delSp modSp new mod modClrScheme chgLayout">
        <pc:chgData name="Gareth Allott" userId="d67bc1e7-5e6e-4540-bcf9-468a02f7a83e" providerId="ADAL" clId="{3A8873A3-C7F3-4857-BEFC-B610670063CB}" dt="2021-04-05T15:46:32.830" v="7" actId="478"/>
        <pc:sldMkLst>
          <pc:docMk/>
          <pc:sldMk cId="1581529177" sldId="2146845405"/>
        </pc:sldMkLst>
        <pc:spChg chg="del mod ord">
          <ac:chgData name="Gareth Allott" userId="d67bc1e7-5e6e-4540-bcf9-468a02f7a83e" providerId="ADAL" clId="{3A8873A3-C7F3-4857-BEFC-B610670063CB}" dt="2021-04-05T15:46:27.612" v="1" actId="700"/>
          <ac:spMkLst>
            <pc:docMk/>
            <pc:sldMk cId="1581529177" sldId="2146845405"/>
            <ac:spMk id="2" creationId="{45F1981F-589E-48BA-9550-849DD864872D}"/>
          </ac:spMkLst>
        </pc:spChg>
        <pc:spChg chg="del mod ord">
          <ac:chgData name="Gareth Allott" userId="d67bc1e7-5e6e-4540-bcf9-468a02f7a83e" providerId="ADAL" clId="{3A8873A3-C7F3-4857-BEFC-B610670063CB}" dt="2021-04-05T15:46:27.612" v="1" actId="700"/>
          <ac:spMkLst>
            <pc:docMk/>
            <pc:sldMk cId="1581529177" sldId="2146845405"/>
            <ac:spMk id="3" creationId="{32072F5E-39E9-482A-AF4F-84EFDC0AF3CF}"/>
          </ac:spMkLst>
        </pc:spChg>
        <pc:spChg chg="add mod ord">
          <ac:chgData name="Gareth Allott" userId="d67bc1e7-5e6e-4540-bcf9-468a02f7a83e" providerId="ADAL" clId="{3A8873A3-C7F3-4857-BEFC-B610670063CB}" dt="2021-04-05T15:46:29.569" v="6" actId="20577"/>
          <ac:spMkLst>
            <pc:docMk/>
            <pc:sldMk cId="1581529177" sldId="2146845405"/>
            <ac:spMk id="4" creationId="{BBE611B0-1233-4A1D-BAD9-61B802AC73A0}"/>
          </ac:spMkLst>
        </pc:spChg>
        <pc:spChg chg="add del mod ord">
          <ac:chgData name="Gareth Allott" userId="d67bc1e7-5e6e-4540-bcf9-468a02f7a83e" providerId="ADAL" clId="{3A8873A3-C7F3-4857-BEFC-B610670063CB}" dt="2021-04-05T15:46:32.830" v="7" actId="478"/>
          <ac:spMkLst>
            <pc:docMk/>
            <pc:sldMk cId="1581529177" sldId="2146845405"/>
            <ac:spMk id="5" creationId="{E1E34900-6653-42C9-8CBB-1E1B06A3515E}"/>
          </ac:spMkLst>
        </pc:spChg>
        <pc:spChg chg="add del mod ord">
          <ac:chgData name="Gareth Allott" userId="d67bc1e7-5e6e-4540-bcf9-468a02f7a83e" providerId="ADAL" clId="{3A8873A3-C7F3-4857-BEFC-B610670063CB}" dt="2021-04-05T15:46:32.830" v="7" actId="478"/>
          <ac:spMkLst>
            <pc:docMk/>
            <pc:sldMk cId="1581529177" sldId="2146845405"/>
            <ac:spMk id="6" creationId="{5D6A9218-9550-4793-B146-8F25F92144F4}"/>
          </ac:spMkLst>
        </pc:spChg>
      </pc:sldChg>
      <pc:sldChg chg="modSp mod">
        <pc:chgData name="Gareth Allott" userId="d67bc1e7-5e6e-4540-bcf9-468a02f7a83e" providerId="ADAL" clId="{3A8873A3-C7F3-4857-BEFC-B610670063CB}" dt="2021-04-09T11:37:21.760" v="83" actId="20577"/>
        <pc:sldMkLst>
          <pc:docMk/>
          <pc:sldMk cId="1473505874" sldId="2146845406"/>
        </pc:sldMkLst>
        <pc:spChg chg="mod">
          <ac:chgData name="Gareth Allott" userId="d67bc1e7-5e6e-4540-bcf9-468a02f7a83e" providerId="ADAL" clId="{3A8873A3-C7F3-4857-BEFC-B610670063CB}" dt="2021-04-09T11:37:21.760" v="83" actId="20577"/>
          <ac:spMkLst>
            <pc:docMk/>
            <pc:sldMk cId="1473505874" sldId="2146845406"/>
            <ac:spMk id="4" creationId="{BBE611B0-1233-4A1D-BAD9-61B802AC73A0}"/>
          </ac:spMkLst>
        </pc:spChg>
      </pc:sldChg>
      <pc:sldChg chg="delSp modSp add del mod">
        <pc:chgData name="Gareth Allott" userId="d67bc1e7-5e6e-4540-bcf9-468a02f7a83e" providerId="ADAL" clId="{3A8873A3-C7F3-4857-BEFC-B610670063CB}" dt="2021-04-07T12:40:12.820" v="55" actId="47"/>
        <pc:sldMkLst>
          <pc:docMk/>
          <pc:sldMk cId="3666074032" sldId="2146845406"/>
        </pc:sldMkLst>
        <pc:spChg chg="mod">
          <ac:chgData name="Gareth Allott" userId="d67bc1e7-5e6e-4540-bcf9-468a02f7a83e" providerId="ADAL" clId="{3A8873A3-C7F3-4857-BEFC-B610670063CB}" dt="2021-04-05T15:59:25.206" v="45" actId="20577"/>
          <ac:spMkLst>
            <pc:docMk/>
            <pc:sldMk cId="3666074032" sldId="2146845406"/>
            <ac:spMk id="2" creationId="{30AA01F9-F116-467F-9D52-FEE3942F9EF9}"/>
          </ac:spMkLst>
        </pc:spChg>
        <pc:spChg chg="mod">
          <ac:chgData name="Gareth Allott" userId="d67bc1e7-5e6e-4540-bcf9-468a02f7a83e" providerId="ADAL" clId="{3A8873A3-C7F3-4857-BEFC-B610670063CB}" dt="2021-04-05T15:59:36.365" v="54" actId="12"/>
          <ac:spMkLst>
            <pc:docMk/>
            <pc:sldMk cId="3666074032" sldId="2146845406"/>
            <ac:spMk id="3" creationId="{A98E76C1-8EF9-40A9-9960-DA90F9EA969C}"/>
          </ac:spMkLst>
        </pc:spChg>
        <pc:spChg chg="del">
          <ac:chgData name="Gareth Allott" userId="d67bc1e7-5e6e-4540-bcf9-468a02f7a83e" providerId="ADAL" clId="{3A8873A3-C7F3-4857-BEFC-B610670063CB}" dt="2021-04-05T15:59:27.125" v="46" actId="478"/>
          <ac:spMkLst>
            <pc:docMk/>
            <pc:sldMk cId="3666074032" sldId="2146845406"/>
            <ac:spMk id="4" creationId="{5B357739-166F-4111-8049-D38397EE5296}"/>
          </ac:spMkLst>
        </pc:spChg>
      </pc:sldChg>
      <pc:sldChg chg="modSp mod">
        <pc:chgData name="Gareth Allott" userId="d67bc1e7-5e6e-4540-bcf9-468a02f7a83e" providerId="ADAL" clId="{3A8873A3-C7F3-4857-BEFC-B610670063CB}" dt="2021-04-09T11:48:37.720" v="381" actId="1076"/>
        <pc:sldMkLst>
          <pc:docMk/>
          <pc:sldMk cId="1491883512" sldId="2146845407"/>
        </pc:sldMkLst>
        <pc:spChg chg="mod">
          <ac:chgData name="Gareth Allott" userId="d67bc1e7-5e6e-4540-bcf9-468a02f7a83e" providerId="ADAL" clId="{3A8873A3-C7F3-4857-BEFC-B610670063CB}" dt="2021-04-09T11:41:19.122" v="271" actId="20577"/>
          <ac:spMkLst>
            <pc:docMk/>
            <pc:sldMk cId="1491883512" sldId="2146845407"/>
            <ac:spMk id="3" creationId="{A98E76C1-8EF9-40A9-9960-DA90F9EA969C}"/>
          </ac:spMkLst>
        </pc:spChg>
        <pc:spChg chg="mod">
          <ac:chgData name="Gareth Allott" userId="d67bc1e7-5e6e-4540-bcf9-468a02f7a83e" providerId="ADAL" clId="{3A8873A3-C7F3-4857-BEFC-B610670063CB}" dt="2021-04-09T11:48:37.720" v="381" actId="1076"/>
          <ac:spMkLst>
            <pc:docMk/>
            <pc:sldMk cId="1491883512" sldId="2146845407"/>
            <ac:spMk id="4" creationId="{5B357739-166F-4111-8049-D38397EE5296}"/>
          </ac:spMkLst>
        </pc:spChg>
      </pc:sldChg>
      <pc:sldChg chg="addSp delSp modSp add mod">
        <pc:chgData name="Gareth Allott" userId="d67bc1e7-5e6e-4540-bcf9-468a02f7a83e" providerId="ADAL" clId="{3A8873A3-C7F3-4857-BEFC-B610670063CB}" dt="2021-04-09T11:48:40.649" v="383"/>
        <pc:sldMkLst>
          <pc:docMk/>
          <pc:sldMk cId="3962277369" sldId="2146845408"/>
        </pc:sldMkLst>
        <pc:spChg chg="mod">
          <ac:chgData name="Gareth Allott" userId="d67bc1e7-5e6e-4540-bcf9-468a02f7a83e" providerId="ADAL" clId="{3A8873A3-C7F3-4857-BEFC-B610670063CB}" dt="2021-04-09T11:41:30.183" v="288" actId="20577"/>
          <ac:spMkLst>
            <pc:docMk/>
            <pc:sldMk cId="3962277369" sldId="2146845408"/>
            <ac:spMk id="2" creationId="{4798D180-47DE-4017-B64E-A97724AE03E2}"/>
          </ac:spMkLst>
        </pc:spChg>
        <pc:spChg chg="del">
          <ac:chgData name="Gareth Allott" userId="d67bc1e7-5e6e-4540-bcf9-468a02f7a83e" providerId="ADAL" clId="{3A8873A3-C7F3-4857-BEFC-B610670063CB}" dt="2021-04-09T11:41:32.925" v="289" actId="478"/>
          <ac:spMkLst>
            <pc:docMk/>
            <pc:sldMk cId="3962277369" sldId="2146845408"/>
            <ac:spMk id="5" creationId="{F0003C2E-EEB6-4539-8368-C5746ABF8A39}"/>
          </ac:spMkLst>
        </pc:spChg>
        <pc:spChg chg="del">
          <ac:chgData name="Gareth Allott" userId="d67bc1e7-5e6e-4540-bcf9-468a02f7a83e" providerId="ADAL" clId="{3A8873A3-C7F3-4857-BEFC-B610670063CB}" dt="2021-04-09T11:41:34.455" v="290" actId="478"/>
          <ac:spMkLst>
            <pc:docMk/>
            <pc:sldMk cId="3962277369" sldId="2146845408"/>
            <ac:spMk id="6" creationId="{53B308F3-1948-4AFB-A493-9A6F9776EBAC}"/>
          </ac:spMkLst>
        </pc:spChg>
        <pc:spChg chg="add del mod">
          <ac:chgData name="Gareth Allott" userId="d67bc1e7-5e6e-4540-bcf9-468a02f7a83e" providerId="ADAL" clId="{3A8873A3-C7F3-4857-BEFC-B610670063CB}" dt="2021-04-09T11:48:40.649" v="383"/>
          <ac:spMkLst>
            <pc:docMk/>
            <pc:sldMk cId="3962277369" sldId="2146845408"/>
            <ac:spMk id="7" creationId="{A0E4E19D-13C0-4223-800B-2F8ECE9B6791}"/>
          </ac:spMkLst>
        </pc:spChg>
        <pc:picChg chg="mod">
          <ac:chgData name="Gareth Allott" userId="d67bc1e7-5e6e-4540-bcf9-468a02f7a83e" providerId="ADAL" clId="{3A8873A3-C7F3-4857-BEFC-B610670063CB}" dt="2021-04-09T11:41:36.194" v="291" actId="1076"/>
          <ac:picMkLst>
            <pc:docMk/>
            <pc:sldMk cId="3962277369" sldId="2146845408"/>
            <ac:picMk id="4" creationId="{15AC11EE-867A-49BD-9D59-4ED21EA9BCE0}"/>
          </ac:picMkLst>
        </pc:picChg>
      </pc:sldChg>
      <pc:sldChg chg="addSp delSp modSp add mod ord">
        <pc:chgData name="Gareth Allott" userId="d67bc1e7-5e6e-4540-bcf9-468a02f7a83e" providerId="ADAL" clId="{3A8873A3-C7F3-4857-BEFC-B610670063CB}" dt="2021-04-14T10:28:06.035" v="1167" actId="478"/>
        <pc:sldMkLst>
          <pc:docMk/>
          <pc:sldMk cId="333588183" sldId="2146845409"/>
        </pc:sldMkLst>
        <pc:spChg chg="mod">
          <ac:chgData name="Gareth Allott" userId="d67bc1e7-5e6e-4540-bcf9-468a02f7a83e" providerId="ADAL" clId="{3A8873A3-C7F3-4857-BEFC-B610670063CB}" dt="2021-04-09T11:48:23.884" v="376" actId="20577"/>
          <ac:spMkLst>
            <pc:docMk/>
            <pc:sldMk cId="333588183" sldId="2146845409"/>
            <ac:spMk id="2" creationId="{4798D180-47DE-4017-B64E-A97724AE03E2}"/>
          </ac:spMkLst>
        </pc:spChg>
        <pc:spChg chg="add mod">
          <ac:chgData name="Gareth Allott" userId="d67bc1e7-5e6e-4540-bcf9-468a02f7a83e" providerId="ADAL" clId="{3A8873A3-C7F3-4857-BEFC-B610670063CB}" dt="2021-04-09T13:53:44.347" v="964" actId="20577"/>
          <ac:spMkLst>
            <pc:docMk/>
            <pc:sldMk cId="333588183" sldId="2146845409"/>
            <ac:spMk id="3" creationId="{D7099C25-8EB6-4C9A-9706-C8A7EB94FEB0}"/>
          </ac:spMkLst>
        </pc:spChg>
        <pc:spChg chg="add del mod ord">
          <ac:chgData name="Gareth Allott" userId="d67bc1e7-5e6e-4540-bcf9-468a02f7a83e" providerId="ADAL" clId="{3A8873A3-C7F3-4857-BEFC-B610670063CB}" dt="2021-04-14T10:28:06.035" v="1167" actId="478"/>
          <ac:spMkLst>
            <pc:docMk/>
            <pc:sldMk cId="333588183" sldId="2146845409"/>
            <ac:spMk id="5" creationId="{835E2C07-D459-472D-92E9-B47FA2B3831E}"/>
          </ac:spMkLst>
        </pc:spChg>
        <pc:picChg chg="del">
          <ac:chgData name="Gareth Allott" userId="d67bc1e7-5e6e-4540-bcf9-468a02f7a83e" providerId="ADAL" clId="{3A8873A3-C7F3-4857-BEFC-B610670063CB}" dt="2021-04-09T11:47:52.784" v="303" actId="478"/>
          <ac:picMkLst>
            <pc:docMk/>
            <pc:sldMk cId="333588183" sldId="2146845409"/>
            <ac:picMk id="4" creationId="{15AC11EE-867A-49BD-9D59-4ED21EA9BCE0}"/>
          </ac:picMkLst>
        </pc:picChg>
        <pc:picChg chg="add del mod">
          <ac:chgData name="Gareth Allott" userId="d67bc1e7-5e6e-4540-bcf9-468a02f7a83e" providerId="ADAL" clId="{3A8873A3-C7F3-4857-BEFC-B610670063CB}" dt="2021-04-14T10:28:03.344" v="1166" actId="478"/>
          <ac:picMkLst>
            <pc:docMk/>
            <pc:sldMk cId="333588183" sldId="2146845409"/>
            <ac:picMk id="7" creationId="{0215F968-AA22-4761-8647-BCF0CDE4A6DA}"/>
          </ac:picMkLst>
        </pc:picChg>
        <pc:picChg chg="add del mod">
          <ac:chgData name="Gareth Allott" userId="d67bc1e7-5e6e-4540-bcf9-468a02f7a83e" providerId="ADAL" clId="{3A8873A3-C7F3-4857-BEFC-B610670063CB}" dt="2021-04-14T10:28:03.344" v="1166" actId="478"/>
          <ac:picMkLst>
            <pc:docMk/>
            <pc:sldMk cId="333588183" sldId="2146845409"/>
            <ac:picMk id="9" creationId="{19EB4DA0-5E7A-4E4D-9CB1-104975FB307C}"/>
          </ac:picMkLst>
        </pc:picChg>
      </pc:sldChg>
      <pc:sldChg chg="addSp delSp modSp mod">
        <pc:chgData name="Gareth Allott" userId="d67bc1e7-5e6e-4540-bcf9-468a02f7a83e" providerId="ADAL" clId="{3A8873A3-C7F3-4857-BEFC-B610670063CB}" dt="2021-04-09T11:51:40.347" v="477" actId="478"/>
        <pc:sldMkLst>
          <pc:docMk/>
          <pc:sldMk cId="1357835526" sldId="2146845410"/>
        </pc:sldMkLst>
        <pc:spChg chg="mod">
          <ac:chgData name="Gareth Allott" userId="d67bc1e7-5e6e-4540-bcf9-468a02f7a83e" providerId="ADAL" clId="{3A8873A3-C7F3-4857-BEFC-B610670063CB}" dt="2021-04-09T11:51:05.690" v="429" actId="1076"/>
          <ac:spMkLst>
            <pc:docMk/>
            <pc:sldMk cId="1357835526" sldId="2146845410"/>
            <ac:spMk id="7" creationId="{B5DDCAD4-B544-4BA6-8202-AFDF9A70B494}"/>
          </ac:spMkLst>
        </pc:spChg>
        <pc:spChg chg="mod">
          <ac:chgData name="Gareth Allott" userId="d67bc1e7-5e6e-4540-bcf9-468a02f7a83e" providerId="ADAL" clId="{3A8873A3-C7F3-4857-BEFC-B610670063CB}" dt="2021-04-09T11:51:17.840" v="452" actId="207"/>
          <ac:spMkLst>
            <pc:docMk/>
            <pc:sldMk cId="1357835526" sldId="2146845410"/>
            <ac:spMk id="8" creationId="{45F715D4-0440-4F2A-B10A-C5E6679D8E46}"/>
          </ac:spMkLst>
        </pc:spChg>
        <pc:spChg chg="mod">
          <ac:chgData name="Gareth Allott" userId="d67bc1e7-5e6e-4540-bcf9-468a02f7a83e" providerId="ADAL" clId="{3A8873A3-C7F3-4857-BEFC-B610670063CB}" dt="2021-04-09T11:51:21.089" v="458" actId="20577"/>
          <ac:spMkLst>
            <pc:docMk/>
            <pc:sldMk cId="1357835526" sldId="2146845410"/>
            <ac:spMk id="13" creationId="{2469A092-A161-4D41-88A5-0ACDFCE29DF5}"/>
          </ac:spMkLst>
        </pc:spChg>
        <pc:picChg chg="del">
          <ac:chgData name="Gareth Allott" userId="d67bc1e7-5e6e-4540-bcf9-468a02f7a83e" providerId="ADAL" clId="{3A8873A3-C7F3-4857-BEFC-B610670063CB}" dt="2021-04-09T11:50:31.905" v="421" actId="478"/>
          <ac:picMkLst>
            <pc:docMk/>
            <pc:sldMk cId="1357835526" sldId="2146845410"/>
            <ac:picMk id="3" creationId="{DE9240B9-B268-46DA-8919-F0E5E5390426}"/>
          </ac:picMkLst>
        </pc:picChg>
        <pc:picChg chg="add mod ord modCrop">
          <ac:chgData name="Gareth Allott" userId="d67bc1e7-5e6e-4540-bcf9-468a02f7a83e" providerId="ADAL" clId="{3A8873A3-C7F3-4857-BEFC-B610670063CB}" dt="2021-04-09T11:51:01.957" v="428" actId="167"/>
          <ac:picMkLst>
            <pc:docMk/>
            <pc:sldMk cId="1357835526" sldId="2146845410"/>
            <ac:picMk id="4" creationId="{07643E81-18A6-42D9-AC20-046C2A4294F2}"/>
          </ac:picMkLst>
        </pc:picChg>
        <pc:picChg chg="add mod">
          <ac:chgData name="Gareth Allott" userId="d67bc1e7-5e6e-4540-bcf9-468a02f7a83e" providerId="ADAL" clId="{3A8873A3-C7F3-4857-BEFC-B610670063CB}" dt="2021-04-09T11:51:37.322" v="476" actId="1037"/>
          <ac:picMkLst>
            <pc:docMk/>
            <pc:sldMk cId="1357835526" sldId="2146845410"/>
            <ac:picMk id="6" creationId="{5049298C-DAC3-474E-A76C-CE9C902830B5}"/>
          </ac:picMkLst>
        </pc:picChg>
        <pc:picChg chg="del mod">
          <ac:chgData name="Gareth Allott" userId="d67bc1e7-5e6e-4540-bcf9-468a02f7a83e" providerId="ADAL" clId="{3A8873A3-C7F3-4857-BEFC-B610670063CB}" dt="2021-04-09T11:51:09.339" v="431" actId="478"/>
          <ac:picMkLst>
            <pc:docMk/>
            <pc:sldMk cId="1357835526" sldId="2146845410"/>
            <ac:picMk id="15" creationId="{536587D1-A4F4-4D0D-A6EA-70D353414960}"/>
          </ac:picMkLst>
        </pc:picChg>
        <pc:cxnChg chg="del">
          <ac:chgData name="Gareth Allott" userId="d67bc1e7-5e6e-4540-bcf9-468a02f7a83e" providerId="ADAL" clId="{3A8873A3-C7F3-4857-BEFC-B610670063CB}" dt="2021-04-09T11:51:40.347" v="477" actId="478"/>
          <ac:cxnSpMkLst>
            <pc:docMk/>
            <pc:sldMk cId="1357835526" sldId="2146845410"/>
            <ac:cxnSpMk id="14" creationId="{61992EF8-3C27-42E1-B089-917F5A790DD1}"/>
          </ac:cxnSpMkLst>
        </pc:cxnChg>
      </pc:sldChg>
      <pc:sldChg chg="addSp delSp modSp add mod">
        <pc:chgData name="Gareth Allott" userId="d67bc1e7-5e6e-4540-bcf9-468a02f7a83e" providerId="ADAL" clId="{3A8873A3-C7F3-4857-BEFC-B610670063CB}" dt="2021-04-09T13:59:14.847" v="1163" actId="14100"/>
        <pc:sldMkLst>
          <pc:docMk/>
          <pc:sldMk cId="4200149477" sldId="2146845411"/>
        </pc:sldMkLst>
        <pc:spChg chg="del mod">
          <ac:chgData name="Gareth Allott" userId="d67bc1e7-5e6e-4540-bcf9-468a02f7a83e" providerId="ADAL" clId="{3A8873A3-C7F3-4857-BEFC-B610670063CB}" dt="2021-04-09T13:59:07.208" v="1160" actId="478"/>
          <ac:spMkLst>
            <pc:docMk/>
            <pc:sldMk cId="4200149477" sldId="2146845411"/>
            <ac:spMk id="2" creationId="{4798D180-47DE-4017-B64E-A97724AE03E2}"/>
          </ac:spMkLst>
        </pc:spChg>
        <pc:spChg chg="add del mod">
          <ac:chgData name="Gareth Allott" userId="d67bc1e7-5e6e-4540-bcf9-468a02f7a83e" providerId="ADAL" clId="{3A8873A3-C7F3-4857-BEFC-B610670063CB}" dt="2021-04-09T11:53:05.529" v="518" actId="478"/>
          <ac:spMkLst>
            <pc:docMk/>
            <pc:sldMk cId="4200149477" sldId="2146845411"/>
            <ac:spMk id="3" creationId="{7B6A6EF2-D656-4546-8181-9E74FEC18FC2}"/>
          </ac:spMkLst>
        </pc:spChg>
        <pc:spChg chg="add del mod">
          <ac:chgData name="Gareth Allott" userId="d67bc1e7-5e6e-4540-bcf9-468a02f7a83e" providerId="ADAL" clId="{3A8873A3-C7F3-4857-BEFC-B610670063CB}" dt="2021-04-09T11:53:05.529" v="518" actId="478"/>
          <ac:spMkLst>
            <pc:docMk/>
            <pc:sldMk cId="4200149477" sldId="2146845411"/>
            <ac:spMk id="5" creationId="{A59FF144-D947-4743-80B4-D974D2D619CE}"/>
          </ac:spMkLst>
        </pc:spChg>
        <pc:spChg chg="add mod">
          <ac:chgData name="Gareth Allott" userId="d67bc1e7-5e6e-4540-bcf9-468a02f7a83e" providerId="ADAL" clId="{3A8873A3-C7F3-4857-BEFC-B610670063CB}" dt="2021-04-09T11:53:02.822" v="517" actId="571"/>
          <ac:spMkLst>
            <pc:docMk/>
            <pc:sldMk cId="4200149477" sldId="2146845411"/>
            <ac:spMk id="6" creationId="{9EEFACB0-CFAA-4166-A4D3-18199ADAF6DF}"/>
          </ac:spMkLst>
        </pc:spChg>
        <pc:spChg chg="add del mod">
          <ac:chgData name="Gareth Allott" userId="d67bc1e7-5e6e-4540-bcf9-468a02f7a83e" providerId="ADAL" clId="{3A8873A3-C7F3-4857-BEFC-B610670063CB}" dt="2021-04-09T13:58:48.019" v="1146" actId="478"/>
          <ac:spMkLst>
            <pc:docMk/>
            <pc:sldMk cId="4200149477" sldId="2146845411"/>
            <ac:spMk id="7" creationId="{BDD5BC63-5723-44E1-8139-D0435F1AF07E}"/>
          </ac:spMkLst>
        </pc:spChg>
        <pc:spChg chg="add del mod">
          <ac:chgData name="Gareth Allott" userId="d67bc1e7-5e6e-4540-bcf9-468a02f7a83e" providerId="ADAL" clId="{3A8873A3-C7F3-4857-BEFC-B610670063CB}" dt="2021-04-09T13:58:22.762" v="1112" actId="478"/>
          <ac:spMkLst>
            <pc:docMk/>
            <pc:sldMk cId="4200149477" sldId="2146845411"/>
            <ac:spMk id="9" creationId="{01B28EB1-5F7B-423A-8623-A53F8552388D}"/>
          </ac:spMkLst>
        </pc:spChg>
        <pc:spChg chg="add del mod">
          <ac:chgData name="Gareth Allott" userId="d67bc1e7-5e6e-4540-bcf9-468a02f7a83e" providerId="ADAL" clId="{3A8873A3-C7F3-4857-BEFC-B610670063CB}" dt="2021-04-09T13:59:08.555" v="1161" actId="478"/>
          <ac:spMkLst>
            <pc:docMk/>
            <pc:sldMk cId="4200149477" sldId="2146845411"/>
            <ac:spMk id="12" creationId="{DFB3B1E3-8A01-48EC-838D-91FB09CB9B09}"/>
          </ac:spMkLst>
        </pc:spChg>
        <pc:graphicFrameChg chg="add mod modGraphic">
          <ac:chgData name="Gareth Allott" userId="d67bc1e7-5e6e-4540-bcf9-468a02f7a83e" providerId="ADAL" clId="{3A8873A3-C7F3-4857-BEFC-B610670063CB}" dt="2021-04-09T13:59:14.847" v="1163" actId="14100"/>
          <ac:graphicFrameMkLst>
            <pc:docMk/>
            <pc:sldMk cId="4200149477" sldId="2146845411"/>
            <ac:graphicFrameMk id="10" creationId="{6300EBDB-A44B-45F0-AB24-9F13C9B96A6C}"/>
          </ac:graphicFrameMkLst>
        </pc:graphicFrameChg>
        <pc:picChg chg="del">
          <ac:chgData name="Gareth Allott" userId="d67bc1e7-5e6e-4540-bcf9-468a02f7a83e" providerId="ADAL" clId="{3A8873A3-C7F3-4857-BEFC-B610670063CB}" dt="2021-04-09T11:52:07.555" v="479" actId="478"/>
          <ac:picMkLst>
            <pc:docMk/>
            <pc:sldMk cId="4200149477" sldId="2146845411"/>
            <ac:picMk id="4" creationId="{15AC11EE-867A-49BD-9D59-4ED21EA9BCE0}"/>
          </ac:picMkLst>
        </pc:picChg>
      </pc:sldChg>
      <pc:sldChg chg="addSp modSp add mod">
        <pc:chgData name="Gareth Allott" userId="d67bc1e7-5e6e-4540-bcf9-468a02f7a83e" providerId="ADAL" clId="{3A8873A3-C7F3-4857-BEFC-B610670063CB}" dt="2021-04-09T12:11:38.518" v="638"/>
        <pc:sldMkLst>
          <pc:docMk/>
          <pc:sldMk cId="2626700235" sldId="2146845412"/>
        </pc:sldMkLst>
        <pc:spChg chg="mod">
          <ac:chgData name="Gareth Allott" userId="d67bc1e7-5e6e-4540-bcf9-468a02f7a83e" providerId="ADAL" clId="{3A8873A3-C7F3-4857-BEFC-B610670063CB}" dt="2021-04-09T12:10:46.468" v="537" actId="20577"/>
          <ac:spMkLst>
            <pc:docMk/>
            <pc:sldMk cId="2626700235" sldId="2146845412"/>
            <ac:spMk id="2" creationId="{4798D180-47DE-4017-B64E-A97724AE03E2}"/>
          </ac:spMkLst>
        </pc:spChg>
        <pc:spChg chg="add mod">
          <ac:chgData name="Gareth Allott" userId="d67bc1e7-5e6e-4540-bcf9-468a02f7a83e" providerId="ADAL" clId="{3A8873A3-C7F3-4857-BEFC-B610670063CB}" dt="2021-04-09T12:10:54.324" v="538"/>
          <ac:spMkLst>
            <pc:docMk/>
            <pc:sldMk cId="2626700235" sldId="2146845412"/>
            <ac:spMk id="3" creationId="{71667BDD-25A6-410C-BF0A-9975B8375A55}"/>
          </ac:spMkLst>
        </pc:spChg>
        <pc:spChg chg="add mod">
          <ac:chgData name="Gareth Allott" userId="d67bc1e7-5e6e-4540-bcf9-468a02f7a83e" providerId="ADAL" clId="{3A8873A3-C7F3-4857-BEFC-B610670063CB}" dt="2021-04-09T12:11:38.518" v="638"/>
          <ac:spMkLst>
            <pc:docMk/>
            <pc:sldMk cId="2626700235" sldId="2146845412"/>
            <ac:spMk id="4" creationId="{CF16240B-F7B0-43A3-BA49-511B0C526C0F}"/>
          </ac:spMkLst>
        </pc:spChg>
      </pc:sldChg>
      <pc:sldChg chg="modSp add mod">
        <pc:chgData name="Gareth Allott" userId="d67bc1e7-5e6e-4540-bcf9-468a02f7a83e" providerId="ADAL" clId="{3A8873A3-C7F3-4857-BEFC-B610670063CB}" dt="2021-04-09T12:11:54.999" v="664" actId="5793"/>
        <pc:sldMkLst>
          <pc:docMk/>
          <pc:sldMk cId="1423825338" sldId="2146845413"/>
        </pc:sldMkLst>
        <pc:spChg chg="mod">
          <ac:chgData name="Gareth Allott" userId="d67bc1e7-5e6e-4540-bcf9-468a02f7a83e" providerId="ADAL" clId="{3A8873A3-C7F3-4857-BEFC-B610670063CB}" dt="2021-04-09T12:11:46.853" v="654" actId="20577"/>
          <ac:spMkLst>
            <pc:docMk/>
            <pc:sldMk cId="1423825338" sldId="2146845413"/>
            <ac:spMk id="2" creationId="{4798D180-47DE-4017-B64E-A97724AE03E2}"/>
          </ac:spMkLst>
        </pc:spChg>
        <pc:spChg chg="mod">
          <ac:chgData name="Gareth Allott" userId="d67bc1e7-5e6e-4540-bcf9-468a02f7a83e" providerId="ADAL" clId="{3A8873A3-C7F3-4857-BEFC-B610670063CB}" dt="2021-04-09T12:11:54.999" v="664" actId="5793"/>
          <ac:spMkLst>
            <pc:docMk/>
            <pc:sldMk cId="1423825338" sldId="2146845413"/>
            <ac:spMk id="4" creationId="{CF16240B-F7B0-43A3-BA49-511B0C526C0F}"/>
          </ac:spMkLst>
        </pc:spChg>
      </pc:sldChg>
    </pc:docChg>
  </pc:docChgLst>
  <pc:docChgLst>
    <pc:chgData name="Alexandre Raynaud" userId="62013f2f-fa8b-4728-ba61-7c17181a1d4e" providerId="ADAL" clId="{4FCBD0A5-9438-8849-9FC9-6FEEF2A2BE55}"/>
    <pc:docChg chg="custSel modSld">
      <pc:chgData name="Alexandre Raynaud" userId="62013f2f-fa8b-4728-ba61-7c17181a1d4e" providerId="ADAL" clId="{4FCBD0A5-9438-8849-9FC9-6FEEF2A2BE55}" dt="2021-04-15T13:37:01.344" v="628" actId="1076"/>
      <pc:docMkLst>
        <pc:docMk/>
      </pc:docMkLst>
      <pc:sldChg chg="addSp modSp mod">
        <pc:chgData name="Alexandre Raynaud" userId="62013f2f-fa8b-4728-ba61-7c17181a1d4e" providerId="ADAL" clId="{4FCBD0A5-9438-8849-9FC9-6FEEF2A2BE55}" dt="2021-04-15T13:37:01.344" v="628" actId="1076"/>
        <pc:sldMkLst>
          <pc:docMk/>
          <pc:sldMk cId="333588183" sldId="2146845409"/>
        </pc:sldMkLst>
        <pc:spChg chg="mod">
          <ac:chgData name="Alexandre Raynaud" userId="62013f2f-fa8b-4728-ba61-7c17181a1d4e" providerId="ADAL" clId="{4FCBD0A5-9438-8849-9FC9-6FEEF2A2BE55}" dt="2021-04-15T13:36:38.277" v="627" actId="947"/>
          <ac:spMkLst>
            <pc:docMk/>
            <pc:sldMk cId="333588183" sldId="2146845409"/>
            <ac:spMk id="3" creationId="{D7099C25-8EB6-4C9A-9706-C8A7EB94FEB0}"/>
          </ac:spMkLst>
        </pc:spChg>
        <pc:spChg chg="add mod">
          <ac:chgData name="Alexandre Raynaud" userId="62013f2f-fa8b-4728-ba61-7c17181a1d4e" providerId="ADAL" clId="{4FCBD0A5-9438-8849-9FC9-6FEEF2A2BE55}" dt="2021-04-15T13:37:01.344" v="628" actId="1076"/>
          <ac:spMkLst>
            <pc:docMk/>
            <pc:sldMk cId="333588183" sldId="2146845409"/>
            <ac:spMk id="4" creationId="{A5EA1918-BCAB-A342-A119-32868B98C5ED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749607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582369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72026101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105509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853478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D4EC7FEB-3003-CF4D-A0F5-0CC93E0860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92277" y="5549296"/>
            <a:ext cx="2976331" cy="568003"/>
          </a:xfrm>
          <a:prstGeom prst="rect">
            <a:avLst/>
          </a:prstGeom>
        </p:spPr>
      </p:pic>
      <p:pic>
        <p:nvPicPr>
          <p:cNvPr id="12" name="Picture 11" descr="A picture containing computer&#10;&#10;Description automatically generated">
            <a:extLst>
              <a:ext uri="{FF2B5EF4-FFF2-40B4-BE49-F238E27FC236}">
                <a16:creationId xmlns:a16="http://schemas.microsoft.com/office/drawing/2014/main" id="{49E3826A-D34B-9245-A792-8736A1692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9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52133" y="2452620"/>
            <a:ext cx="7696200" cy="1119449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FF936-6769-5E4F-9013-92A64286AAAC}"/>
              </a:ext>
            </a:extLst>
          </p:cNvPr>
          <p:cNvCxnSpPr>
            <a:cxnSpLocks/>
          </p:cNvCxnSpPr>
          <p:nvPr userDrawn="1"/>
        </p:nvCxnSpPr>
        <p:spPr>
          <a:xfrm>
            <a:off x="2252133" y="3572069"/>
            <a:ext cx="7696200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3AC4FD4-8040-1940-A5A6-CB21B9EFAD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2133" y="3750733"/>
            <a:ext cx="7696200" cy="524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4B34FC74-1D5B-C143-891E-3E826BD73F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2134" y="4592302"/>
            <a:ext cx="2742949" cy="2167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67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BAC81BB4-212F-F341-80DB-09B1016D3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2134" y="5857970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2486E00-792C-4543-B570-6D54CEF7D7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272768" y="886933"/>
            <a:ext cx="2759417" cy="75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8999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B60D4D6-C6A9-4342-AAFE-6F94FB21CA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600" y="1797051"/>
            <a:ext cx="10464800" cy="2731407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3243E947-ECA8-1E4D-9828-568C2A74E4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1667"/>
            <a:ext cx="2491497" cy="1759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4880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269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363A195-CE96-D842-9603-C967A7C7D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63083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E87BDDA0-37D6-374F-8CD6-794707DCF6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F959AB0-4E19-5643-AEF5-198333A5F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57F8215E-591F-2447-B058-033F7A5F49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5E04DBA0-A8F2-BD4F-B20A-C1A4AECA4F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6644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4D8C5D-2A98-6746-B2C9-B3F01796E6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0" name="Picture 9" descr="A picture containing food&#10;&#10;Description automatically generated">
            <a:extLst>
              <a:ext uri="{FF2B5EF4-FFF2-40B4-BE49-F238E27FC236}">
                <a16:creationId xmlns:a16="http://schemas.microsoft.com/office/drawing/2014/main" id="{7F4FAF77-E84D-2240-9062-F25F34D119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4390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66E420-28E6-E142-B1C4-384F0C26A1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1797052"/>
            <a:ext cx="10464800" cy="4032249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2C1030D3-4C88-E241-BC5F-ED0CCACA76C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2360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22367257"/>
      </p:ext>
    </p:extLst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D6F0515-DD29-764E-8F2E-9E615FCF45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10464800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D4328970-8600-5544-AFEF-04A9B4380F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553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3FD8C13-2F89-1242-A1B3-BF115D26F6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75789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6D42A49-1496-0E41-AAE2-53504FCBDB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146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A2E0F9E-1B89-1A44-B589-26AED4514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7579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790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7E715AC-2F65-9D48-9C31-DC2EA363E1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F90011C-BABB-F147-886E-E51EC07CEE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549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860CE29-A07C-E24F-86E6-33E3860C48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80434B-45BC-724F-86CA-DB078C27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A455E9F-B1B6-CC4B-ADB7-FE762C83FC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1" y="1797052"/>
            <a:ext cx="1046479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3D25DA-F533-E449-9C72-EFA5288FF9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A09709B-93D1-5846-BF92-D12943FA2C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7EF141EE-5539-1E48-B306-D1F0A8587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6E552D1-BAD2-FC4B-AD94-43053B4ABC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5" name="Picture 4" descr="A picture containing food&#10;&#10;Description automatically generated">
            <a:extLst>
              <a:ext uri="{FF2B5EF4-FFF2-40B4-BE49-F238E27FC236}">
                <a16:creationId xmlns:a16="http://schemas.microsoft.com/office/drawing/2014/main" id="{CF562FFE-D301-974C-A769-E835F8377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1627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37DF505-FAF6-7A4F-BDF3-BDD09CAE27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275790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468750AA-7237-184E-A7B9-579FE9B791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599" y="6436788"/>
            <a:ext cx="773253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35F48131-D77A-0B47-806E-66BEAA9F0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5" name="Picture 14" descr="A picture containing food&#10;&#10;Description automatically generated">
            <a:extLst>
              <a:ext uri="{FF2B5EF4-FFF2-40B4-BE49-F238E27FC236}">
                <a16:creationId xmlns:a16="http://schemas.microsoft.com/office/drawing/2014/main" id="{736730F5-6A73-044A-85F1-02198CFBF2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1102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62BA6798-D065-0746-BEBD-1923E07F6D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42736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3818016-5C96-2B44-884F-78BB62E2084C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30170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680852F8-925F-F747-9419-8ED70D56B8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767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98DD4382-CCED-7C4E-85DC-CA00337C4B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1691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0E053E3C-116F-A740-8A63-D11633115E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8448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normalizeH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C8EACA12-8FC8-D944-8F1A-2ED7D797F3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36755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5362241-D360-4341-B421-C79188810A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7189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9014FE69-157F-3845-AA60-171FEC9222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9" name="Picture 28" descr="A picture containing food&#10;&#10;Description automatically generated">
            <a:extLst>
              <a:ext uri="{FF2B5EF4-FFF2-40B4-BE49-F238E27FC236}">
                <a16:creationId xmlns:a16="http://schemas.microsoft.com/office/drawing/2014/main" id="{1D46319A-51C9-1A4C-976D-5DBFF1BD42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6106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8A6D4D4-8209-3345-A637-D0217991F8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7F7611B0-AEF8-294E-B9B5-36365DE4D6DE}"/>
              </a:ext>
            </a:extLst>
          </p:cNvPr>
          <p:cNvSpPr/>
          <p:nvPr userDrawn="1"/>
        </p:nvSpPr>
        <p:spPr>
          <a:xfrm>
            <a:off x="863601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3D6D5C0-A05A-594C-919D-81D4F19F368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03704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B550DAC-D03A-BB46-9632-3895180836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7785605-5E70-484D-852E-E62D263C437A}"/>
              </a:ext>
            </a:extLst>
          </p:cNvPr>
          <p:cNvSpPr/>
          <p:nvPr userDrawn="1"/>
        </p:nvSpPr>
        <p:spPr>
          <a:xfrm>
            <a:off x="863602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E2CAB3FA-A240-1544-9F00-90FED28AEDD4}"/>
              </a:ext>
            </a:extLst>
          </p:cNvPr>
          <p:cNvSpPr/>
          <p:nvPr userDrawn="1"/>
        </p:nvSpPr>
        <p:spPr>
          <a:xfrm>
            <a:off x="8832746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5DE3F2F-40CA-514E-A735-725DC8A9858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72849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E33E935-9726-AE4A-90AB-D0454CEE6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832747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3D0C71D-BF52-AD40-8CEC-51F5CEFBC8B7}"/>
              </a:ext>
            </a:extLst>
          </p:cNvPr>
          <p:cNvSpPr/>
          <p:nvPr userDrawn="1"/>
        </p:nvSpPr>
        <p:spPr>
          <a:xfrm>
            <a:off x="8832747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9BD885CE-38EA-414B-871F-D34C618F7798}"/>
              </a:ext>
            </a:extLst>
          </p:cNvPr>
          <p:cNvSpPr/>
          <p:nvPr userDrawn="1"/>
        </p:nvSpPr>
        <p:spPr>
          <a:xfrm>
            <a:off x="6177199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5AA70F9F-715E-604A-9F09-1E2D9F0E772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17302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47E00C1-754D-024B-BCE6-1DB1A85C3B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77201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DEAA2F-6124-5345-9CF4-2E835CCDE9C8}"/>
              </a:ext>
            </a:extLst>
          </p:cNvPr>
          <p:cNvSpPr/>
          <p:nvPr userDrawn="1"/>
        </p:nvSpPr>
        <p:spPr>
          <a:xfrm>
            <a:off x="6177200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FCDCC53D-2C00-D34B-B93B-F91346938C44}"/>
              </a:ext>
            </a:extLst>
          </p:cNvPr>
          <p:cNvSpPr/>
          <p:nvPr userDrawn="1"/>
        </p:nvSpPr>
        <p:spPr>
          <a:xfrm>
            <a:off x="3518793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7F8FE733-3114-0E47-BE26-3D8F5F08FE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58896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2B555CE-4667-2F4F-84E2-67951FC1DC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18794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FB30E6E-8CDE-F144-90FA-7D85002BD66E}"/>
              </a:ext>
            </a:extLst>
          </p:cNvPr>
          <p:cNvSpPr/>
          <p:nvPr userDrawn="1"/>
        </p:nvSpPr>
        <p:spPr>
          <a:xfrm>
            <a:off x="3518794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7854BBA-939F-F844-BEC1-E1C866928E11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EA6D89C-E52A-4141-813F-0D60B78B3973}"/>
              </a:ext>
            </a:extLst>
          </p:cNvPr>
          <p:cNvCxnSpPr>
            <a:cxnSpLocks/>
          </p:cNvCxnSpPr>
          <p:nvPr userDrawn="1"/>
        </p:nvCxnSpPr>
        <p:spPr>
          <a:xfrm>
            <a:off x="3512839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5AF21D6-BB36-CB49-AD04-2ECEAEC1CF60}"/>
              </a:ext>
            </a:extLst>
          </p:cNvPr>
          <p:cNvCxnSpPr>
            <a:cxnSpLocks/>
          </p:cNvCxnSpPr>
          <p:nvPr userDrawn="1"/>
        </p:nvCxnSpPr>
        <p:spPr>
          <a:xfrm>
            <a:off x="61804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242FCC4-A226-E142-B41A-468507FFB947}"/>
              </a:ext>
            </a:extLst>
          </p:cNvPr>
          <p:cNvCxnSpPr>
            <a:cxnSpLocks/>
          </p:cNvCxnSpPr>
          <p:nvPr userDrawn="1"/>
        </p:nvCxnSpPr>
        <p:spPr>
          <a:xfrm>
            <a:off x="88419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48762971-3C37-D649-8FF2-3A25E28ECA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5" name="Picture 34" descr="A picture containing food&#10;&#10;Description automatically generated">
            <a:extLst>
              <a:ext uri="{FF2B5EF4-FFF2-40B4-BE49-F238E27FC236}">
                <a16:creationId xmlns:a16="http://schemas.microsoft.com/office/drawing/2014/main" id="{12D49F86-BDDB-DD43-9209-80C4DF2FBE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8026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EF4E8F0-E43E-A74C-91E1-6E1FD8D1E7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2499861F-00E2-1148-B38A-E12B8B2BF820}"/>
              </a:ext>
            </a:extLst>
          </p:cNvPr>
          <p:cNvSpPr/>
          <p:nvPr userDrawn="1"/>
        </p:nvSpPr>
        <p:spPr>
          <a:xfrm>
            <a:off x="863600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10349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42DEF93-380D-3B47-9E80-5662FED8C0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3602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20C2B7-C762-0745-A0C1-322189BEDABC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A8C81C5-38CC-1747-88CF-619160A4AA6D}"/>
              </a:ext>
            </a:extLst>
          </p:cNvPr>
          <p:cNvCxnSpPr>
            <a:cxnSpLocks/>
          </p:cNvCxnSpPr>
          <p:nvPr userDrawn="1"/>
        </p:nvCxnSpPr>
        <p:spPr>
          <a:xfrm>
            <a:off x="863601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F47650E-BC51-E04D-931C-6D33E554D71D}"/>
              </a:ext>
            </a:extLst>
          </p:cNvPr>
          <p:cNvSpPr/>
          <p:nvPr userDrawn="1"/>
        </p:nvSpPr>
        <p:spPr>
          <a:xfrm>
            <a:off x="6275789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E282F56-A7E9-B44A-98D8-8D640527D4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22538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4F90CFB-8BA0-C64A-AC81-45A7C7333E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5791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D05F69A-30E4-8D4C-9B3D-829782E15F84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747264E-E94F-9044-B27E-E74ED140023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6E4D2569-7DD1-1241-B244-4BA0A18AC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94087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411BDA96-5809-5341-BAD3-9F7BB3E2FB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2395642-DBA4-1140-9D7A-1389F8A55E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1F5EA692-C4E3-514C-98CC-90CE83146E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9856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68FC3FB0-CF43-D541-A532-3CFC6D2DAA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18687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E05213-E9A3-5A4D-A76C-3CC50B0AB2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417850-FA45-B549-AD14-868BE1ED9F18}"/>
              </a:ext>
            </a:extLst>
          </p:cNvPr>
          <p:cNvSpPr/>
          <p:nvPr userDrawn="1"/>
        </p:nvSpPr>
        <p:spPr>
          <a:xfrm>
            <a:off x="86360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D4DA29B-4AE0-4D46-9E0C-DE58C9059C0C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6BE9C0CC-593B-CC48-A2EF-0A2E3483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52803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6F7B96B-AC5A-3348-9FAC-C9EC6B90D9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534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2AA3D2D-FAB7-D648-A95A-8E8FB2EEA1AF}"/>
              </a:ext>
            </a:extLst>
          </p:cNvPr>
          <p:cNvSpPr/>
          <p:nvPr userDrawn="1"/>
        </p:nvSpPr>
        <p:spPr>
          <a:xfrm>
            <a:off x="4429533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05B53C4-6BCC-9F41-8DC6-C1C441D5CEFF}"/>
              </a:ext>
            </a:extLst>
          </p:cNvPr>
          <p:cNvCxnSpPr>
            <a:cxnSpLocks/>
          </p:cNvCxnSpPr>
          <p:nvPr userDrawn="1"/>
        </p:nvCxnSpPr>
        <p:spPr>
          <a:xfrm>
            <a:off x="4429532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C6527C99-B704-3948-A8EB-E762CC3DC87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0040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759688E-CD1B-B540-B666-B135DBCD6D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77131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B20A2-9C1B-9B4E-90FE-1034AF294ECD}"/>
              </a:ext>
            </a:extLst>
          </p:cNvPr>
          <p:cNvSpPr/>
          <p:nvPr userDrawn="1"/>
        </p:nvSpPr>
        <p:spPr>
          <a:xfrm>
            <a:off x="797713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5FE0ADB-0F95-C24C-98B6-0975C8F64CD4}"/>
              </a:ext>
            </a:extLst>
          </p:cNvPr>
          <p:cNvCxnSpPr>
            <a:cxnSpLocks/>
          </p:cNvCxnSpPr>
          <p:nvPr userDrawn="1"/>
        </p:nvCxnSpPr>
        <p:spPr>
          <a:xfrm>
            <a:off x="7977129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9F3F5BE7-6635-F941-8B5E-750365C7E3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8686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318FA5D8-1B42-C544-B87A-65D4F2C26B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83283C0E-634B-F243-BF1E-CA70CA3688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630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670A263-B582-FE40-BD7E-C4DCD3E0B7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F9563CBF-5735-6447-A93D-0D4AFA601026}"/>
              </a:ext>
            </a:extLst>
          </p:cNvPr>
          <p:cNvSpPr/>
          <p:nvPr userDrawn="1"/>
        </p:nvSpPr>
        <p:spPr>
          <a:xfrm>
            <a:off x="863600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249D3357-0AE1-4F41-BAB8-A10DCDD2B4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10349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046F5D6-5875-AD43-8F9B-656508FD14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3602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8C20629-DF0F-2A4C-93E4-004CED5DE1B0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8019043-5300-8C49-8542-A1B1C5350662}"/>
              </a:ext>
            </a:extLst>
          </p:cNvPr>
          <p:cNvCxnSpPr>
            <a:cxnSpLocks/>
          </p:cNvCxnSpPr>
          <p:nvPr userDrawn="1"/>
        </p:nvCxnSpPr>
        <p:spPr>
          <a:xfrm>
            <a:off x="863601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4EB59C99-B5FF-F046-94EF-7C45AB324076}"/>
              </a:ext>
            </a:extLst>
          </p:cNvPr>
          <p:cNvSpPr/>
          <p:nvPr userDrawn="1"/>
        </p:nvSpPr>
        <p:spPr>
          <a:xfrm>
            <a:off x="6275789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26494BA1-9106-434A-B9C6-4051B09B39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139197" marR="0" lvl="0" indent="-139197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28240EA-EBCE-F842-ACD1-3E8EBFC37C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67AAC37-D8DE-444C-A917-ECCD6FF197DB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16DD487-CF6E-F046-B48E-0AADA528410A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68448A1C-51A0-B949-82E7-7CC2B1BC1999}"/>
              </a:ext>
            </a:extLst>
          </p:cNvPr>
          <p:cNvSpPr/>
          <p:nvPr userDrawn="1"/>
        </p:nvSpPr>
        <p:spPr>
          <a:xfrm>
            <a:off x="863600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EB7BFD81-9BE9-BF4A-B728-5CC78FB36F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210349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6FD692E-0D7D-4846-B050-98C3F5840F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3602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EF0A7-763B-B940-AE76-BDA098AAE936}"/>
              </a:ext>
            </a:extLst>
          </p:cNvPr>
          <p:cNvSpPr/>
          <p:nvPr userDrawn="1"/>
        </p:nvSpPr>
        <p:spPr>
          <a:xfrm>
            <a:off x="863601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A771312-DCC6-B94F-B004-8E9DE59F70C9}"/>
              </a:ext>
            </a:extLst>
          </p:cNvPr>
          <p:cNvCxnSpPr>
            <a:cxnSpLocks/>
          </p:cNvCxnSpPr>
          <p:nvPr userDrawn="1"/>
        </p:nvCxnSpPr>
        <p:spPr>
          <a:xfrm>
            <a:off x="863601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6217734D-41E6-EC49-81D6-7F6E340EF91F}"/>
              </a:ext>
            </a:extLst>
          </p:cNvPr>
          <p:cNvSpPr/>
          <p:nvPr userDrawn="1"/>
        </p:nvSpPr>
        <p:spPr>
          <a:xfrm>
            <a:off x="6275789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61F89409-BFC5-464A-B894-FE92CD3B1CF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156DF22-B940-3D43-A980-6CF14EFE20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BAA0C18-140E-8C41-8199-68406BFCB914}"/>
              </a:ext>
            </a:extLst>
          </p:cNvPr>
          <p:cNvSpPr/>
          <p:nvPr userDrawn="1"/>
        </p:nvSpPr>
        <p:spPr>
          <a:xfrm>
            <a:off x="6275790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7396826-4C94-F049-9A3C-722635B6070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4859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D1C421C-78F1-4448-A619-55E0DC24C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A563FB27-CF07-3B44-840A-2AE6E57692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1" name="Picture 30" descr="A picture containing food&#10;&#10;Description automatically generated">
            <a:extLst>
              <a:ext uri="{FF2B5EF4-FFF2-40B4-BE49-F238E27FC236}">
                <a16:creationId xmlns:a16="http://schemas.microsoft.com/office/drawing/2014/main" id="{58538397-5740-5641-9179-53714A648B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138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3333898"/>
      </p:ext>
    </p:extLst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FAF84E0-0949-F840-A9B4-1521ADCBC1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56309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A87D5D9-86A7-8849-914E-249E506784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2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A680962B-FBC1-9647-B4A1-88289458B7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3602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FCDFBAC7-F0E7-DA46-91A5-892B642C94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62915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</a:t>
            </a:r>
            <a:r>
              <a:rPr lang="en-US" err="1"/>
              <a:t>leve</a:t>
            </a:r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7B136980-B961-E344-B037-CE91E072CEA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62915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1CC64DD4-9725-AC4B-AF81-20A94999D2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63602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id="{A935D7D4-BBC8-E446-8C28-6EB0C64BFD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3602" y="3954283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39802B60-38D9-854E-B65D-91DC64263CA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62915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555417B1-BB88-4E49-8E03-E3C2C28521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2915" y="3854151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0E4BF7D6-5186-EA48-A17C-60D398151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D13F3180-DADD-1F4D-855F-78F1B16F2D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9" name="Picture 18" descr="A picture containing food&#10;&#10;Description automatically generated">
            <a:extLst>
              <a:ext uri="{FF2B5EF4-FFF2-40B4-BE49-F238E27FC236}">
                <a16:creationId xmlns:a16="http://schemas.microsoft.com/office/drawing/2014/main" id="{96E5E451-2BD1-3A49-8DED-E9FA81C45A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6191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25FB098-55A4-BA46-A9E1-D2D8D0008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2800"/>
            <a:ext cx="5052604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8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E7DF1266-DFF3-1F47-9AF9-C4DB6C6FEA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082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044C795-8967-2545-9806-79E6156E73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321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3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79426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00E74B1D-D901-E84E-9EC7-49DF125A07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993FBC66-A669-A64C-8C35-852C386C60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1328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696200C-4F23-AB48-98AA-F1C3718B47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968299" y="152403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8299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801980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24D5D6F4-BFDF-DB45-BE4F-24A1172D25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4741AF9A-9588-8B45-A10C-A133D87E9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364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2EE154-1D04-A944-85D3-3DCC3AF4DB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A53D7EC-8354-E14A-A7FA-81AD863786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72082" y="2456463"/>
            <a:ext cx="5050671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BCFA1914-78AE-134E-8209-EA026A7331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832845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BD0110D-75B4-F04E-931A-5176A6DAA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7728" y="1523420"/>
            <a:ext cx="5050672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D3849F72-96AA-DC45-B908-A4B8D4257A5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5C2E079-38A2-634C-ADF9-5C40352E90D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A picture containing food&#10;&#10;Description automatically generated">
            <a:extLst>
              <a:ext uri="{FF2B5EF4-FFF2-40B4-BE49-F238E27FC236}">
                <a16:creationId xmlns:a16="http://schemas.microsoft.com/office/drawing/2014/main" id="{56622307-1967-9547-BEF7-EFEE04D4B6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2783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E982B460-7034-244F-8EB8-CD53BC66BE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0" y="2640647"/>
            <a:ext cx="5052605" cy="1576708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Aft>
                <a:spcPts val="800"/>
              </a:spcAft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 Click </a:t>
            </a:r>
            <a:br>
              <a:rPr lang="en-US"/>
            </a:br>
            <a:r>
              <a:rPr lang="en-US"/>
              <a:t>to edit Master title style Click to edit Master title styl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E45EC2D0-2066-7C46-B4A9-56BE033DFDC7}"/>
              </a:ext>
            </a:extLst>
          </p:cNvPr>
          <p:cNvSpPr/>
          <p:nvPr userDrawn="1"/>
        </p:nvSpPr>
        <p:spPr>
          <a:xfrm>
            <a:off x="6275789" y="1348510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7D74F64-410F-C140-BEF2-50EB28C1F1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1504953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534475F-C46F-B44B-A7AB-22F233A73D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90918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1F2941-1391-9F41-9B05-2564737D1CA5}"/>
              </a:ext>
            </a:extLst>
          </p:cNvPr>
          <p:cNvSpPr/>
          <p:nvPr userDrawn="1"/>
        </p:nvSpPr>
        <p:spPr>
          <a:xfrm>
            <a:off x="6275790" y="86169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897074-7CD0-7547-BD7C-BD20A83DACB8}"/>
              </a:ext>
            </a:extLst>
          </p:cNvPr>
          <p:cNvCxnSpPr>
            <a:cxnSpLocks/>
          </p:cNvCxnSpPr>
          <p:nvPr userDrawn="1"/>
        </p:nvCxnSpPr>
        <p:spPr>
          <a:xfrm>
            <a:off x="6275790" y="132608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543C7861-043E-244B-A15E-3DF348BA7133}"/>
              </a:ext>
            </a:extLst>
          </p:cNvPr>
          <p:cNvSpPr/>
          <p:nvPr userDrawn="1"/>
        </p:nvSpPr>
        <p:spPr>
          <a:xfrm>
            <a:off x="6275789" y="3062723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F6C341A-8889-374B-BFD0-8BFB09C03A6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22538" y="3219167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EB5CC2A-8814-AD4C-94A8-AAB9E739A5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791" y="2623397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A1A5C2-4744-F145-A9EE-D5FFC29D9377}"/>
              </a:ext>
            </a:extLst>
          </p:cNvPr>
          <p:cNvSpPr/>
          <p:nvPr userDrawn="1"/>
        </p:nvSpPr>
        <p:spPr>
          <a:xfrm>
            <a:off x="6275790" y="2575905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549CC34-F23B-FB44-8393-64C036694B05}"/>
              </a:ext>
            </a:extLst>
          </p:cNvPr>
          <p:cNvCxnSpPr>
            <a:cxnSpLocks/>
          </p:cNvCxnSpPr>
          <p:nvPr userDrawn="1"/>
        </p:nvCxnSpPr>
        <p:spPr>
          <a:xfrm>
            <a:off x="6275790" y="3040300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7D46D13-1898-BE48-8476-8DDF1462B5E0}"/>
              </a:ext>
            </a:extLst>
          </p:cNvPr>
          <p:cNvSpPr/>
          <p:nvPr userDrawn="1"/>
        </p:nvSpPr>
        <p:spPr>
          <a:xfrm>
            <a:off x="6275789" y="4776937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1D5DF601-A9E2-AF4C-9435-B4DAF08F9F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933380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04AE032-B3A3-C442-B8DC-8F7A485F12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4337610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F4874F8-D35C-B34B-AB7A-97BE3CD53502}"/>
              </a:ext>
            </a:extLst>
          </p:cNvPr>
          <p:cNvSpPr/>
          <p:nvPr userDrawn="1"/>
        </p:nvSpPr>
        <p:spPr>
          <a:xfrm>
            <a:off x="6275790" y="4290118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E1A1E44-7E0A-484E-AFB5-1E7B861E02F7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754513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5F351E5A-10FB-0542-BE75-9A4B4820B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FAEE7216-519C-264E-BC91-04B7F295070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5" name="Picture 24" descr="A picture containing food&#10;&#10;Description automatically generated">
            <a:extLst>
              <a:ext uri="{FF2B5EF4-FFF2-40B4-BE49-F238E27FC236}">
                <a16:creationId xmlns:a16="http://schemas.microsoft.com/office/drawing/2014/main" id="{8D35097E-1DE5-7C4C-A9B3-3A1800DAFB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0920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274638"/>
            <a:ext cx="11127409" cy="927999"/>
          </a:xfrm>
          <a:prstGeom prst="rect">
            <a:avLst/>
          </a:prstGeom>
        </p:spPr>
        <p:txBody>
          <a:bodyPr lIns="0" anchor="b" anchorCtr="0"/>
          <a:lstStyle>
            <a:lvl1pPr>
              <a:lnSpc>
                <a:spcPts val="24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1600201"/>
            <a:ext cx="11093451" cy="400469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 marL="349242" indent="-180970">
              <a:buClr>
                <a:schemeClr val="accent1"/>
              </a:buClr>
              <a:defRPr/>
            </a:lvl2pPr>
            <a:lvl3pPr marL="517512" indent="-168270">
              <a:buClr>
                <a:schemeClr val="accent1"/>
              </a:buClr>
              <a:defRPr/>
            </a:lvl3pPr>
            <a:lvl4pPr marL="685783" indent="-168270">
              <a:buClr>
                <a:schemeClr val="accent1"/>
              </a:buClr>
              <a:defRPr/>
            </a:lvl4pPr>
            <a:lvl5pPr marL="806431" indent="-120648"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CACADA9-C812-48D8-B8B9-E9A775436C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LEAD CONFIDENTIAL AND PROPRIETAR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76AF96B-F142-47AB-A4A1-AD6EE21B55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02BD659-9FDC-409B-A85B-D43EDDA2118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359906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6/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240067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442362"/>
      </p:ext>
    </p:extLst>
  </p:cSld>
  <p:clrMapOvr>
    <a:masterClrMapping/>
  </p:clrMapOvr>
  <p:transition>
    <p:wipe dir="d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5927584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67310932"/>
      </p:ext>
    </p:extLst>
  </p:cSld>
  <p:clrMapOvr>
    <a:masterClrMapping/>
  </p:clrMapOvr>
  <p:transition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75698861"/>
      </p:ext>
    </p:extLst>
  </p:cSld>
  <p:clrMapOvr>
    <a:masterClrMapping/>
  </p:clrMapOvr>
  <p:transition>
    <p:wipe dir="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1920697"/>
      </p:ext>
    </p:extLst>
  </p:cSld>
  <p:clrMapOvr>
    <a:masterClrMapping/>
  </p:clrMapOvr>
  <p:transition>
    <p:wipe dir="d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6489342"/>
      </p:ext>
    </p:extLst>
  </p:cSld>
  <p:clrMapOvr>
    <a:masterClrMapping/>
  </p:clrMapOvr>
  <p:transition>
    <p:wipe dir="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553445"/>
      </p:ext>
    </p:extLst>
  </p:cSld>
  <p:clrMapOvr>
    <a:masterClrMapping/>
  </p:clrMapOvr>
  <p:transition>
    <p:wipe dir="d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6851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763373"/>
      </p:ext>
    </p:extLst>
  </p:cSld>
  <p:clrMapOvr>
    <a:masterClrMapping/>
  </p:clrMapOvr>
  <p:transition>
    <p:wipe dir="d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820778"/>
      </p:ext>
    </p:extLst>
  </p:cSld>
  <p:clrMapOvr>
    <a:masterClrMapping/>
  </p:clrMapOvr>
  <p:transition>
    <p:wipe dir="d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488836"/>
      </p:ext>
    </p:extLst>
  </p:cSld>
  <p:clrMapOvr>
    <a:masterClrMapping/>
  </p:clrMapOvr>
  <p:transition>
    <p:wipe dir="d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601962"/>
      </p:ext>
    </p:extLst>
  </p:cSld>
  <p:clrMapOvr>
    <a:masterClrMapping/>
  </p:clrMapOvr>
  <p:transition>
    <p:wipe dir="d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89409125"/>
      </p:ext>
    </p:extLst>
  </p:cSld>
  <p:clrMapOvr>
    <a:masterClrMapping/>
  </p:clrMapOvr>
  <p:transition>
    <p:wipe dir="d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0200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4097304"/>
      </p:ext>
    </p:extLst>
  </p:cSld>
  <p:clrMapOvr>
    <a:masterClrMapping/>
  </p:clrMapOvr>
  <p:transition>
    <p:wipe dir="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7278911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730438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ECAA157B-F801-49EE-9C3F-93880E630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1942167" y="1108892"/>
            <a:ext cx="8264422" cy="153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805268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D87EC-C401-AC47-B125-2124B5F4E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0DFA45-94D6-A04C-BC41-D8638C36BD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127E15-212D-2A4D-8C5A-B6ABED2A73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C9619B-2AE5-564D-AF08-FA5945562B0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E11ECE7-7AC7-DD4E-97DC-BD4FEBDE9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203325"/>
            <a:ext cx="10972800" cy="5762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800" cap="all" baseline="0"/>
            </a:lvl1pPr>
          </a:lstStyle>
          <a:p>
            <a:pPr lvl="0"/>
            <a:r>
              <a:rPr lang="en-US"/>
              <a:t>Vestibulu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lat. </a:t>
            </a:r>
            <a:r>
              <a:rPr lang="en-US" err="1"/>
              <a:t>Undaessimus</a:t>
            </a:r>
            <a:r>
              <a:rPr lang="en-US"/>
              <a:t> rerum </a:t>
            </a:r>
            <a:r>
              <a:rPr lang="en-US" err="1"/>
              <a:t>verferumquas</a:t>
            </a:r>
            <a:r>
              <a:rPr lang="en-US"/>
              <a:t> </a:t>
            </a:r>
            <a:r>
              <a:rPr lang="en-US" err="1"/>
              <a:t>nulliquas</a:t>
            </a:r>
            <a:r>
              <a:rPr lang="en-US"/>
              <a:t> </a:t>
            </a:r>
            <a:r>
              <a:rPr lang="en-US" err="1"/>
              <a:t>estis</a:t>
            </a:r>
            <a:r>
              <a:rPr lang="en-US"/>
              <a:t> </a:t>
            </a:r>
            <a:r>
              <a:rPr lang="en-US" err="1"/>
              <a:t>explani</a:t>
            </a:r>
            <a:r>
              <a:rPr lang="en-US"/>
              <a:t> </a:t>
            </a:r>
            <a:r>
              <a:rPr lang="en-US" err="1"/>
              <a:t>hicimpe</a:t>
            </a:r>
            <a:r>
              <a:rPr lang="en-US"/>
              <a:t> </a:t>
            </a:r>
            <a:r>
              <a:rPr lang="en-US" err="1"/>
              <a:t>dicaborro</a:t>
            </a:r>
            <a:r>
              <a:rPr lang="en-US"/>
              <a:t> </a:t>
            </a:r>
            <a:r>
              <a:rPr lang="en-US" err="1"/>
              <a:t>officid</a:t>
            </a:r>
            <a:r>
              <a:rPr lang="en-US"/>
              <a:t> </a:t>
            </a:r>
            <a:r>
              <a:rPr lang="en-US" err="1"/>
              <a:t>unt</a:t>
            </a:r>
            <a:r>
              <a:rPr lang="en-US"/>
              <a:t> mil </a:t>
            </a:r>
            <a:r>
              <a:rPr lang="en-US" err="1"/>
              <a:t>e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5359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732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352515"/>
      </p:ext>
    </p:extLst>
  </p:cSld>
  <p:clrMapOvr>
    <a:masterClrMapping/>
  </p:clrMapOvr>
  <p:transition>
    <p:wipe dir="d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5274563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3803504"/>
      </p:ext>
    </p:extLst>
  </p:cSld>
  <p:clrMapOvr>
    <a:masterClrMapping/>
  </p:clrMapOvr>
  <p:transition>
    <p:wipe dir="d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8615389"/>
      </p:ext>
    </p:extLst>
  </p:cSld>
  <p:clrMapOvr>
    <a:masterClrMapping/>
  </p:clrMapOvr>
  <p:transition>
    <p:wipe dir="d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35771554"/>
      </p:ext>
    </p:extLst>
  </p:cSld>
  <p:clrMapOvr>
    <a:masterClrMapping/>
  </p:clrMapOvr>
  <p:transition>
    <p:wipe dir="d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7805659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4160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9240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056646"/>
      </p:ext>
    </p:extLst>
  </p:cSld>
  <p:clrMapOvr>
    <a:masterClrMapping/>
  </p:clrMapOvr>
  <p:transition>
    <p:wipe dir="d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661621"/>
      </p:ext>
    </p:extLst>
  </p:cSld>
  <p:clrMapOvr>
    <a:masterClrMapping/>
  </p:clrMapOvr>
  <p:transition>
    <p:wipe dir="d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098252"/>
      </p:ext>
    </p:extLst>
  </p:cSld>
  <p:clrMapOvr>
    <a:masterClrMapping/>
  </p:clrMapOvr>
  <p:transition>
    <p:wipe dir="d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058463"/>
      </p:ext>
    </p:extLst>
  </p:cSld>
  <p:clrMapOvr>
    <a:masterClrMapping/>
  </p:clrMapOvr>
  <p:transition>
    <p:wipe dir="d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1132163"/>
      </p:ext>
    </p:extLst>
  </p:cSld>
  <p:clrMapOvr>
    <a:masterClrMapping/>
  </p:clrMapOvr>
  <p:transition>
    <p:wipe dir="d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292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9537468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3019707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ECAA157B-F801-49EE-9C3F-93880E630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1942167" y="1108892"/>
            <a:ext cx="8264422" cy="153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60703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9060510"/>
      </p:ext>
    </p:extLst>
  </p:cSld>
  <p:clrMapOvr>
    <a:masterClrMapping/>
  </p:clrMapOvr>
  <p:transition>
    <p:wipe dir="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D87EC-C401-AC47-B125-2124B5F4E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0DFA45-94D6-A04C-BC41-D8638C36BD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127E15-212D-2A4D-8C5A-B6ABED2A73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C9619B-2AE5-564D-AF08-FA5945562B0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E11ECE7-7AC7-DD4E-97DC-BD4FEBDE9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203325"/>
            <a:ext cx="10972800" cy="5762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800" cap="all" baseline="0"/>
            </a:lvl1pPr>
          </a:lstStyle>
          <a:p>
            <a:pPr lvl="0"/>
            <a:r>
              <a:rPr lang="en-US"/>
              <a:t>Vestibulu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lat. </a:t>
            </a:r>
            <a:r>
              <a:rPr lang="en-US" err="1"/>
              <a:t>Undaessimus</a:t>
            </a:r>
            <a:r>
              <a:rPr lang="en-US"/>
              <a:t> rerum </a:t>
            </a:r>
            <a:r>
              <a:rPr lang="en-US" err="1"/>
              <a:t>verferumquas</a:t>
            </a:r>
            <a:r>
              <a:rPr lang="en-US"/>
              <a:t> </a:t>
            </a:r>
            <a:r>
              <a:rPr lang="en-US" err="1"/>
              <a:t>nulliquas</a:t>
            </a:r>
            <a:r>
              <a:rPr lang="en-US"/>
              <a:t> </a:t>
            </a:r>
            <a:r>
              <a:rPr lang="en-US" err="1"/>
              <a:t>estis</a:t>
            </a:r>
            <a:r>
              <a:rPr lang="en-US"/>
              <a:t> </a:t>
            </a:r>
            <a:r>
              <a:rPr lang="en-US" err="1"/>
              <a:t>explani</a:t>
            </a:r>
            <a:r>
              <a:rPr lang="en-US"/>
              <a:t> </a:t>
            </a:r>
            <a:r>
              <a:rPr lang="en-US" err="1"/>
              <a:t>hicimpe</a:t>
            </a:r>
            <a:r>
              <a:rPr lang="en-US"/>
              <a:t> </a:t>
            </a:r>
            <a:r>
              <a:rPr lang="en-US" err="1"/>
              <a:t>dicaborro</a:t>
            </a:r>
            <a:r>
              <a:rPr lang="en-US"/>
              <a:t> </a:t>
            </a:r>
            <a:r>
              <a:rPr lang="en-US" err="1"/>
              <a:t>officid</a:t>
            </a:r>
            <a:r>
              <a:rPr lang="en-US"/>
              <a:t> </a:t>
            </a:r>
            <a:r>
              <a:rPr lang="en-US" err="1"/>
              <a:t>unt</a:t>
            </a:r>
            <a:r>
              <a:rPr lang="en-US"/>
              <a:t> mil </a:t>
            </a:r>
            <a:r>
              <a:rPr lang="en-US" err="1"/>
              <a:t>e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4294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920299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767682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40.xml"/><Relationship Id="rId21" Type="http://schemas.openxmlformats.org/officeDocument/2006/relationships/oleObject" Target="../embeddings/oleObject3.bin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47.xml"/><Relationship Id="rId19" Type="http://schemas.openxmlformats.org/officeDocument/2006/relationships/vmlDrawing" Target="../drawings/vmlDrawing3.v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vmlDrawing" Target="../drawings/vmlDrawing5.vml"/><Relationship Id="rId3" Type="http://schemas.openxmlformats.org/officeDocument/2006/relationships/slideLayout" Target="../slideLayouts/slideLayout57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64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7" imgW="519" imgH="520" progId="TCLayout.ActiveDocument.1">
                  <p:embed/>
                </p:oleObj>
              </mc:Choice>
              <mc:Fallback>
                <p:oleObj name="think-cell Slide" r:id="rId17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131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BD022E9-1AF0-D441-89FB-E4108D4E6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4867" y="6213310"/>
            <a:ext cx="7141347" cy="32560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CA" sz="800" b="0" i="0" u="none" strike="noStrike" cap="all" baseline="0" smtClean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/>
              <a:t>Disclaimer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D8F4315-808C-1D48-B36E-6E6CA2B02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30272" y="6376112"/>
            <a:ext cx="601133" cy="17144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33"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437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9">
          <p15:clr>
            <a:srgbClr val="F26B43"/>
          </p15:clr>
        </p15:guide>
        <p15:guide id="2" pos="408">
          <p15:clr>
            <a:srgbClr val="F26B43"/>
          </p15:clr>
        </p15:guide>
        <p15:guide id="3" pos="5352">
          <p15:clr>
            <a:srgbClr val="F26B43"/>
          </p15:clr>
        </p15:guide>
        <p15:guide id="4" orient="horz" pos="275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801804382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21" imgW="519" imgH="520" progId="TCLayout.ActiveDocument.1">
                  <p:embed/>
                </p:oleObj>
              </mc:Choice>
              <mc:Fallback>
                <p:oleObj name="think-cell Slide" r:id="rId21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161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967630261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20" imgW="519" imgH="520" progId="TCLayout.ActiveDocument.1">
                  <p:embed/>
                </p:oleObj>
              </mc:Choice>
              <mc:Fallback>
                <p:oleObj name="think-cell Slide" r:id="rId20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436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4.xml"/><Relationship Id="rId6" Type="http://schemas.microsoft.com/office/2007/relationships/hdphoto" Target="../media/hdphoto1.wdp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4.xml"/><Relationship Id="rId6" Type="http://schemas.microsoft.com/office/2007/relationships/hdphoto" Target="../media/hdphoto1.wdp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F715D4-0440-4F2A-B10A-C5E6679D8E46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CP Journey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orkshop 4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386028D-BB43-4C82-B42F-AD37BD3C1BDD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469A092-A161-4D41-88A5-0ACDFCE29DF5}"/>
              </a:ext>
            </a:extLst>
          </p:cNvPr>
          <p:cNvSpPr txBox="1"/>
          <p:nvPr/>
        </p:nvSpPr>
        <p:spPr>
          <a:xfrm>
            <a:off x="448056" y="4026027"/>
            <a:ext cx="2788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uesday 20</a:t>
            </a:r>
            <a:r>
              <a:rPr kumimoji="0" lang="en-GB" sz="18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h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April</a:t>
            </a: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0796B46A-B836-49EE-B563-6CBA194861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5545" y="-47970"/>
            <a:ext cx="1601650" cy="160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56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BE611B0-1233-4A1D-BAD9-61B802AC73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HCP Journeys Creation 2</a:t>
            </a:r>
          </a:p>
        </p:txBody>
      </p:sp>
    </p:spTree>
    <p:extLst>
      <p:ext uri="{BB962C8B-B14F-4D97-AF65-F5344CB8AC3E}">
        <p14:creationId xmlns:p14="http://schemas.microsoft.com/office/powerpoint/2010/main" val="1473505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B357739-166F-4111-8049-D38397EE5296}"/>
              </a:ext>
            </a:extLst>
          </p:cNvPr>
          <p:cNvSpPr/>
          <p:nvPr/>
        </p:nvSpPr>
        <p:spPr bwMode="auto">
          <a:xfrm>
            <a:off x="0" y="1556796"/>
            <a:ext cx="12192000" cy="32657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AA01F9-F116-467F-9D52-FEE3942F9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8E76C1-8EF9-40A9-9960-DA90F9EA969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845138"/>
            <a:ext cx="10806722" cy="434340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ü"/>
            </a:pPr>
            <a:r>
              <a:rPr lang="en-GB"/>
              <a:t>Review the latest </a:t>
            </a:r>
            <a:r>
              <a:rPr lang="en-GB" b="1">
                <a:solidFill>
                  <a:schemeClr val="accent2"/>
                </a:solidFill>
              </a:rPr>
              <a:t>template update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/>
              <a:t>Define HCP Journey </a:t>
            </a:r>
            <a:r>
              <a:rPr lang="en-GB" b="1">
                <a:solidFill>
                  <a:schemeClr val="accent2"/>
                </a:solidFill>
              </a:rPr>
              <a:t>entry point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b="1">
                <a:solidFill>
                  <a:schemeClr val="accent2"/>
                </a:solidFill>
              </a:rPr>
              <a:t>Iterate and confirm </a:t>
            </a:r>
            <a:r>
              <a:rPr lang="en-GB">
                <a:solidFill>
                  <a:schemeClr val="tx1"/>
                </a:solidFill>
              </a:rPr>
              <a:t>Custellence template layout – including the number and types of ‘scenarios’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b="1">
                <a:solidFill>
                  <a:schemeClr val="accent2"/>
                </a:solidFill>
              </a:rPr>
              <a:t>Start building </a:t>
            </a:r>
            <a:r>
              <a:rPr lang="en-GB">
                <a:solidFill>
                  <a:schemeClr val="tx1"/>
                </a:solidFill>
              </a:rPr>
              <a:t>the initial journeys!</a:t>
            </a:r>
          </a:p>
        </p:txBody>
      </p:sp>
    </p:spTree>
    <p:extLst>
      <p:ext uri="{BB962C8B-B14F-4D97-AF65-F5344CB8AC3E}">
        <p14:creationId xmlns:p14="http://schemas.microsoft.com/office/powerpoint/2010/main" val="1491883512"/>
      </p:ext>
    </p:extLst>
  </p:cSld>
  <p:clrMapOvr>
    <a:masterClrMapping/>
  </p:clrMapOvr>
  <p:transition>
    <p:wipe dir="d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D180-47DE-4017-B64E-A97724AE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mplate Updates</a:t>
            </a:r>
          </a:p>
        </p:txBody>
      </p:sp>
      <p:pic>
        <p:nvPicPr>
          <p:cNvPr id="4" name="Picture 3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5AC11EE-867A-49BD-9D59-4ED21EA9BC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200" y="1556796"/>
            <a:ext cx="5269085" cy="3376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277369"/>
      </p:ext>
    </p:extLst>
  </p:cSld>
  <p:clrMapOvr>
    <a:masterClrMapping/>
  </p:clrMapOvr>
  <p:transition>
    <p:wipe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andglass, blue, close&#10;&#10;Description automatically generated">
            <a:extLst>
              <a:ext uri="{FF2B5EF4-FFF2-40B4-BE49-F238E27FC236}">
                <a16:creationId xmlns:a16="http://schemas.microsoft.com/office/drawing/2014/main" id="{07643E81-18A6-42D9-AC20-046C2A4294F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322"/>
          <a:stretch/>
        </p:blipFill>
        <p:spPr>
          <a:xfrm>
            <a:off x="-101600" y="-1"/>
            <a:ext cx="12293600" cy="68580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-101600" y="0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F715D4-0440-4F2A-B10A-C5E6679D8E46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lore the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emplat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386028D-BB43-4C82-B42F-AD37BD3C1BDD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469A092-A161-4D41-88A5-0ACDFCE29DF5}"/>
              </a:ext>
            </a:extLst>
          </p:cNvPr>
          <p:cNvSpPr txBox="1"/>
          <p:nvPr/>
        </p:nvSpPr>
        <p:spPr>
          <a:xfrm>
            <a:off x="448056" y="4026027"/>
            <a:ext cx="2788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5 mins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6" name="Graphic 5" descr="Stopwatch 75% with solid fill">
            <a:extLst>
              <a:ext uri="{FF2B5EF4-FFF2-40B4-BE49-F238E27FC236}">
                <a16:creationId xmlns:a16="http://schemas.microsoft.com/office/drawing/2014/main" id="{5049298C-DAC3-474E-A76C-CE9C902830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06815" y="3986127"/>
            <a:ext cx="567771" cy="567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83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6300EBDB-A44B-45F0-AB24-9F13C9B96A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5241239"/>
              </p:ext>
            </p:extLst>
          </p:nvPr>
        </p:nvGraphicFramePr>
        <p:xfrm>
          <a:off x="0" y="0"/>
          <a:ext cx="12192000" cy="68580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4065832853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70522823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816755308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675321211"/>
                    </a:ext>
                  </a:extLst>
                </a:gridCol>
              </a:tblGrid>
              <a:tr h="399802"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Rep-Driven - Cons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Rep Driven – No Cons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Digital - On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HCP - Driv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5702318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/>
                        <a:t>Online adv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4563052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/>
                        <a:t>C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2571326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/>
                        <a:t>Print Adv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2662758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8609964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7020989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5359142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1271847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9085588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7520477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1452945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4222583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8259357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4541025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0275640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8309590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943961"/>
                  </a:ext>
                </a:extLst>
              </a:tr>
              <a:tr h="379894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2099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0149477"/>
      </p:ext>
    </p:extLst>
  </p:cSld>
  <p:clrMapOvr>
    <a:masterClrMapping/>
  </p:clrMapOvr>
  <p:transition>
    <p:wipe dir="d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D180-47DE-4017-B64E-A97724AE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# of Touchpoin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1667BDD-25A6-410C-BF0A-9975B8375A55}"/>
              </a:ext>
            </a:extLst>
          </p:cNvPr>
          <p:cNvSpPr/>
          <p:nvPr/>
        </p:nvSpPr>
        <p:spPr bwMode="auto">
          <a:xfrm>
            <a:off x="0" y="1556796"/>
            <a:ext cx="12192000" cy="32657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16240B-F7B0-43A3-BA49-511B0C526C0F}"/>
              </a:ext>
            </a:extLst>
          </p:cNvPr>
          <p:cNvSpPr txBox="1"/>
          <p:nvPr/>
        </p:nvSpPr>
        <p:spPr>
          <a:xfrm>
            <a:off x="863600" y="1961741"/>
            <a:ext cx="889000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800"/>
              </a:spcAft>
              <a:buFont typeface="+mj-lt"/>
              <a:buAutoNum type="arabicPeriod"/>
            </a:pPr>
            <a:r>
              <a:rPr lang="en-GB" sz="2400" b="1">
                <a:solidFill>
                  <a:schemeClr val="tx2"/>
                </a:solidFill>
              </a:rPr>
              <a:t> Less </a:t>
            </a:r>
            <a:r>
              <a:rPr lang="en-GB" sz="2400" b="1">
                <a:solidFill>
                  <a:schemeClr val="accent1"/>
                </a:solidFill>
              </a:rPr>
              <a:t>touchpoints</a:t>
            </a:r>
            <a:r>
              <a:rPr lang="en-GB" sz="2400" b="1">
                <a:solidFill>
                  <a:schemeClr val="tx2"/>
                </a:solidFill>
              </a:rPr>
              <a:t>, more scenario variants?</a:t>
            </a:r>
          </a:p>
          <a:p>
            <a:pPr marL="342900" indent="-342900">
              <a:spcAft>
                <a:spcPts val="1800"/>
              </a:spcAft>
              <a:buFont typeface="+mj-lt"/>
              <a:buAutoNum type="arabicPeriod"/>
            </a:pPr>
            <a:r>
              <a:rPr lang="en-GB" sz="2400" b="1">
                <a:solidFill>
                  <a:schemeClr val="tx2"/>
                </a:solidFill>
              </a:rPr>
              <a:t> Less </a:t>
            </a:r>
            <a:r>
              <a:rPr lang="en-GB" sz="2400" b="1">
                <a:solidFill>
                  <a:schemeClr val="accent1"/>
                </a:solidFill>
              </a:rPr>
              <a:t>variants</a:t>
            </a:r>
            <a:r>
              <a:rPr lang="en-GB" sz="2400" b="1">
                <a:solidFill>
                  <a:schemeClr val="tx2"/>
                </a:solidFill>
              </a:rPr>
              <a:t>, more touchpoints?</a:t>
            </a:r>
          </a:p>
        </p:txBody>
      </p:sp>
    </p:spTree>
    <p:extLst>
      <p:ext uri="{BB962C8B-B14F-4D97-AF65-F5344CB8AC3E}">
        <p14:creationId xmlns:p14="http://schemas.microsoft.com/office/powerpoint/2010/main" val="2626700235"/>
      </p:ext>
    </p:extLst>
  </p:cSld>
  <p:clrMapOvr>
    <a:masterClrMapping/>
  </p:clrMapOvr>
  <p:transition>
    <p:wipe dir="d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D180-47DE-4017-B64E-A97724AE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cti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1667BDD-25A6-410C-BF0A-9975B8375A55}"/>
              </a:ext>
            </a:extLst>
          </p:cNvPr>
          <p:cNvSpPr/>
          <p:nvPr/>
        </p:nvSpPr>
        <p:spPr bwMode="auto">
          <a:xfrm>
            <a:off x="0" y="1556796"/>
            <a:ext cx="12192000" cy="32657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16240B-F7B0-43A3-BA49-511B0C526C0F}"/>
              </a:ext>
            </a:extLst>
          </p:cNvPr>
          <p:cNvSpPr txBox="1"/>
          <p:nvPr/>
        </p:nvSpPr>
        <p:spPr>
          <a:xfrm>
            <a:off x="863600" y="1961741"/>
            <a:ext cx="889000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800"/>
              </a:spcAft>
              <a:buFont typeface="+mj-lt"/>
              <a:buAutoNum type="arabicPeriod"/>
            </a:pPr>
            <a:r>
              <a:rPr lang="en-GB" sz="2400" b="1">
                <a:solidFill>
                  <a:schemeClr val="tx2"/>
                </a:solidFill>
              </a:rPr>
              <a:t> …</a:t>
            </a:r>
          </a:p>
          <a:p>
            <a:pPr marL="342900" indent="-342900">
              <a:spcAft>
                <a:spcPts val="1800"/>
              </a:spcAft>
              <a:buFont typeface="+mj-lt"/>
              <a:buAutoNum type="arabicPeriod"/>
            </a:pPr>
            <a:r>
              <a:rPr lang="en-GB" sz="2400" b="1">
                <a:solidFill>
                  <a:schemeClr val="tx2"/>
                </a:solidFill>
              </a:rPr>
              <a:t> …</a:t>
            </a:r>
          </a:p>
        </p:txBody>
      </p:sp>
    </p:spTree>
    <p:extLst>
      <p:ext uri="{BB962C8B-B14F-4D97-AF65-F5344CB8AC3E}">
        <p14:creationId xmlns:p14="http://schemas.microsoft.com/office/powerpoint/2010/main" val="1423825338"/>
      </p:ext>
    </p:extLst>
  </p:cSld>
  <p:clrMapOvr>
    <a:masterClrMapping/>
  </p:clrMapOvr>
  <p:transition>
    <p:wipe dir="d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D180-47DE-4017-B64E-A97724AE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cenarios Type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099C25-8EB6-4C9A-9706-C8A7EB94FEB0}"/>
              </a:ext>
            </a:extLst>
          </p:cNvPr>
          <p:cNvSpPr txBox="1"/>
          <p:nvPr/>
        </p:nvSpPr>
        <p:spPr>
          <a:xfrm>
            <a:off x="879642" y="1623274"/>
            <a:ext cx="8890000" cy="5216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GB" sz="1600" b="1">
                <a:solidFill>
                  <a:schemeClr val="tx2"/>
                </a:solidFill>
              </a:rPr>
              <a:t>Rep-Driven</a:t>
            </a:r>
            <a:r>
              <a:rPr lang="en-GB" sz="1600"/>
              <a:t>: with Consent</a:t>
            </a:r>
          </a:p>
          <a:p>
            <a:pPr marL="800100" lvl="1" indent="-342900">
              <a:buFont typeface="+mj-lt"/>
              <a:buAutoNum type="alphaLcPeriod"/>
            </a:pPr>
            <a:endParaRPr lang="en-GB" sz="1600"/>
          </a:p>
          <a:p>
            <a:pPr marL="342900" indent="-342900">
              <a:spcAft>
                <a:spcPts val="1800"/>
              </a:spcAft>
              <a:buFont typeface="+mj-lt"/>
              <a:buAutoNum type="arabicPeriod"/>
            </a:pPr>
            <a:r>
              <a:rPr lang="en-GB" sz="1600" b="1" strike="sngStrike">
                <a:solidFill>
                  <a:schemeClr val="tx2"/>
                </a:solidFill>
              </a:rPr>
              <a:t>Rep-Driven</a:t>
            </a:r>
            <a:r>
              <a:rPr lang="en-GB" sz="1600" strike="sngStrike"/>
              <a:t>: No Consent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600" b="1">
                <a:solidFill>
                  <a:schemeClr val="tx2"/>
                </a:solidFill>
              </a:rPr>
              <a:t>HCP-driven : </a:t>
            </a:r>
            <a:endParaRPr lang="en-GB" sz="1600">
              <a:solidFill>
                <a:schemeClr val="tx2"/>
              </a:solidFill>
            </a:endParaRPr>
          </a:p>
          <a:p>
            <a:pPr marL="800100" lvl="1" indent="-342900">
              <a:buFont typeface="+mj-lt"/>
              <a:buAutoNum type="alphaLcPeriod"/>
            </a:pPr>
            <a:r>
              <a:rPr lang="en-GB" sz="1600">
                <a:solidFill>
                  <a:schemeClr val="tx2"/>
                </a:solidFill>
              </a:rPr>
              <a:t>“I want to understand the difference among JAKS”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GB" sz="1600">
                <a:solidFill>
                  <a:schemeClr val="tx2"/>
                </a:solidFill>
              </a:rPr>
              <a:t>“I click on a banner”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GB" sz="1600">
                <a:solidFill>
                  <a:schemeClr val="tx2"/>
                </a:solidFill>
              </a:rPr>
              <a:t>“I respond to a mass email” (UK)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GB" sz="1600">
                <a:solidFill>
                  <a:schemeClr val="tx2"/>
                </a:solidFill>
              </a:rPr>
              <a:t>Sample request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GB" sz="1600">
                <a:solidFill>
                  <a:schemeClr val="tx2"/>
                </a:solidFill>
              </a:rPr>
              <a:t>Subscription to newsletter</a:t>
            </a:r>
          </a:p>
          <a:p>
            <a:pPr marL="800100" lvl="1" indent="-342900">
              <a:buFont typeface="+mj-lt"/>
              <a:buAutoNum type="alphaLcPeriod"/>
            </a:pPr>
            <a:endParaRPr lang="en-GB" sz="1600">
              <a:solidFill>
                <a:schemeClr val="tx2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GB" sz="1600" b="1">
                <a:solidFill>
                  <a:schemeClr val="tx2"/>
                </a:solidFill>
              </a:rPr>
              <a:t>Above-country driven :</a:t>
            </a:r>
            <a:r>
              <a:rPr lang="en-GB" sz="1600">
                <a:solidFill>
                  <a:schemeClr val="tx2"/>
                </a:solidFill>
              </a:rPr>
              <a:t> with entry points to local journeys.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GB" sz="1600">
                <a:solidFill>
                  <a:schemeClr val="tx2"/>
                </a:solidFill>
              </a:rPr>
              <a:t>EULAR, pre/ post event </a:t>
            </a:r>
            <a:r>
              <a:rPr lang="en-GB" sz="1600" err="1">
                <a:solidFill>
                  <a:schemeClr val="tx2"/>
                </a:solidFill>
              </a:rPr>
              <a:t>i.e</a:t>
            </a:r>
            <a:r>
              <a:rPr lang="en-GB" sz="1600">
                <a:solidFill>
                  <a:schemeClr val="tx2"/>
                </a:solidFill>
              </a:rPr>
              <a:t> Medscape campaign (show an illustrative example, a blueprint for the future)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GB" sz="1600">
                <a:solidFill>
                  <a:schemeClr val="tx2"/>
                </a:solidFill>
              </a:rPr>
              <a:t>Product Webinar (Q3)</a:t>
            </a:r>
          </a:p>
          <a:p>
            <a:pPr marL="800100" lvl="1" indent="-342900">
              <a:buFont typeface="+mj-lt"/>
              <a:buAutoNum type="alphaLcPeriod"/>
            </a:pPr>
            <a:endParaRPr lang="en-GB" sz="1600">
              <a:solidFill>
                <a:schemeClr val="tx2"/>
              </a:solidFill>
            </a:endParaRPr>
          </a:p>
          <a:p>
            <a:pPr marL="342900" indent="-342900">
              <a:spcAft>
                <a:spcPts val="1800"/>
              </a:spcAft>
              <a:buFont typeface="+mj-lt"/>
              <a:buAutoNum type="arabicPeriod"/>
            </a:pPr>
            <a:r>
              <a:rPr lang="en-GB" sz="1600" strike="sngStrike">
                <a:solidFill>
                  <a:schemeClr val="tx2"/>
                </a:solidFill>
              </a:rPr>
              <a:t>Physician is new to Galapagos</a:t>
            </a:r>
          </a:p>
          <a:p>
            <a:pPr marL="342900" indent="-342900">
              <a:spcAft>
                <a:spcPts val="1800"/>
              </a:spcAft>
              <a:buFont typeface="+mj-lt"/>
              <a:buAutoNum type="arabicPeriod"/>
            </a:pPr>
            <a:endParaRPr lang="en-GB" sz="1600">
              <a:solidFill>
                <a:schemeClr val="tx2"/>
              </a:solidFill>
            </a:endParaRPr>
          </a:p>
          <a:p>
            <a:pPr marL="342900" indent="-342900">
              <a:spcAft>
                <a:spcPts val="1800"/>
              </a:spcAft>
              <a:buFont typeface="+mj-lt"/>
              <a:buAutoNum type="arabicPeriod"/>
            </a:pPr>
            <a:endParaRPr lang="en-GB" sz="1600">
              <a:solidFill>
                <a:schemeClr val="tx2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EA1918-BCAB-A342-A119-32868B98C5ED}"/>
              </a:ext>
            </a:extLst>
          </p:cNvPr>
          <p:cNvSpPr/>
          <p:nvPr/>
        </p:nvSpPr>
        <p:spPr bwMode="auto">
          <a:xfrm>
            <a:off x="6134692" y="5234726"/>
            <a:ext cx="5195943" cy="136346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A</a:t>
            </a:r>
            <a:r>
              <a:rPr kumimoji="0" lang="en-FR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ssumption is :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FR" sz="1400">
                <a:latin typeface="Tahoma" pitchFamily="-107" charset="0"/>
              </a:rPr>
              <a:t>-    </a:t>
            </a:r>
            <a:r>
              <a:rPr kumimoji="0" lang="en-FR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reps are there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lang="en-GB" sz="1400">
                <a:latin typeface="Tahoma" pitchFamily="-107" charset="0"/>
              </a:rPr>
              <a:t>w</a:t>
            </a:r>
            <a:r>
              <a:rPr lang="en-FR" sz="1400">
                <a:latin typeface="Tahoma" pitchFamily="-107" charset="0"/>
              </a:rPr>
              <a:t>ith consent</a:t>
            </a:r>
          </a:p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FR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N</a:t>
            </a:r>
            <a:r>
              <a:rPr lang="en-FR" sz="1400">
                <a:latin typeface="Tahoma" pitchFamily="-107" charset="0"/>
              </a:rPr>
              <a:t>ot a place for a digital only journey</a:t>
            </a:r>
          </a:p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FR" sz="1400">
              <a:latin typeface="Tahoma" pitchFamily="-107" charset="0"/>
            </a:endParaRPr>
          </a:p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GB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S</a:t>
            </a:r>
            <a:r>
              <a:rPr kumimoji="0" lang="en-FR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ervice in preparation : possibility to sc</a:t>
            </a:r>
            <a:r>
              <a:rPr kumimoji="0" lang="en-GB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h</a:t>
            </a:r>
            <a:r>
              <a:rPr kumimoji="0" lang="en-FR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edule a call wirth MSL</a:t>
            </a:r>
          </a:p>
        </p:txBody>
      </p:sp>
    </p:spTree>
    <p:extLst>
      <p:ext uri="{BB962C8B-B14F-4D97-AF65-F5344CB8AC3E}">
        <p14:creationId xmlns:p14="http://schemas.microsoft.com/office/powerpoint/2010/main" val="333588183"/>
      </p:ext>
    </p:extLst>
  </p:cSld>
  <p:clrMapOvr>
    <a:masterClrMapping/>
  </p:clrMapOvr>
  <p:transition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B357739-166F-4111-8049-D38397EE5296}"/>
              </a:ext>
            </a:extLst>
          </p:cNvPr>
          <p:cNvSpPr/>
          <p:nvPr/>
        </p:nvSpPr>
        <p:spPr bwMode="auto">
          <a:xfrm>
            <a:off x="0" y="1556795"/>
            <a:ext cx="12192000" cy="32657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AA01F9-F116-467F-9D52-FEE3942F9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8E76C1-8EF9-40A9-9960-DA90F9EA969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845138"/>
            <a:ext cx="10806722" cy="434340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ü"/>
            </a:pPr>
            <a:r>
              <a:rPr lang="en-GB" b="1">
                <a:solidFill>
                  <a:schemeClr val="accent2"/>
                </a:solidFill>
              </a:rPr>
              <a:t>Recap</a:t>
            </a:r>
            <a:r>
              <a:rPr lang="en-GB"/>
              <a:t> the Adoption Ladder and HCP Journey principles/progress</a:t>
            </a:r>
            <a:endParaRPr lang="en-GB" b="1">
              <a:solidFill>
                <a:schemeClr val="tx2"/>
              </a:solidFill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GB"/>
              <a:t>Get set-up with </a:t>
            </a:r>
            <a:r>
              <a:rPr lang="en-GB" b="1">
                <a:solidFill>
                  <a:schemeClr val="accent2"/>
                </a:solidFill>
              </a:rPr>
              <a:t>Custellenc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>
                <a:solidFill>
                  <a:schemeClr val="tx2"/>
                </a:solidFill>
              </a:rPr>
              <a:t>Review </a:t>
            </a:r>
            <a:r>
              <a:rPr lang="en-GB" b="1">
                <a:solidFill>
                  <a:schemeClr val="accent2"/>
                </a:solidFill>
              </a:rPr>
              <a:t>new</a:t>
            </a:r>
            <a:r>
              <a:rPr lang="en-GB">
                <a:solidFill>
                  <a:schemeClr val="tx2"/>
                </a:solidFill>
              </a:rPr>
              <a:t> HCP Journey </a:t>
            </a:r>
            <a:r>
              <a:rPr lang="en-GB" b="1">
                <a:solidFill>
                  <a:schemeClr val="accent2"/>
                </a:solidFill>
              </a:rPr>
              <a:t>Template</a:t>
            </a:r>
            <a:r>
              <a:rPr lang="en-GB">
                <a:solidFill>
                  <a:schemeClr val="tx2"/>
                </a:solidFill>
              </a:rPr>
              <a:t> (in Custellence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b="1">
                <a:solidFill>
                  <a:schemeClr val="accent2"/>
                </a:solidFill>
              </a:rPr>
              <a:t>Iterate and confirm </a:t>
            </a:r>
            <a:r>
              <a:rPr lang="en-GB">
                <a:solidFill>
                  <a:schemeClr val="tx2"/>
                </a:solidFill>
              </a:rPr>
              <a:t>Custellence template layout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>
                <a:solidFill>
                  <a:schemeClr val="tx2"/>
                </a:solidFill>
              </a:rPr>
              <a:t>Define HCP Journey </a:t>
            </a:r>
            <a:r>
              <a:rPr lang="en-GB" b="1">
                <a:solidFill>
                  <a:schemeClr val="accent2"/>
                </a:solidFill>
              </a:rPr>
              <a:t>entry points</a:t>
            </a:r>
          </a:p>
        </p:txBody>
      </p:sp>
    </p:spTree>
    <p:extLst>
      <p:ext uri="{BB962C8B-B14F-4D97-AF65-F5344CB8AC3E}">
        <p14:creationId xmlns:p14="http://schemas.microsoft.com/office/powerpoint/2010/main" val="3786229988"/>
      </p:ext>
    </p:extLst>
  </p:cSld>
  <p:clrMapOvr>
    <a:masterClrMapping/>
  </p:clrMapOvr>
  <p:transition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BE611B0-1233-4A1D-BAD9-61B802AC73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Recap</a:t>
            </a:r>
          </a:p>
        </p:txBody>
      </p:sp>
    </p:spTree>
    <p:extLst>
      <p:ext uri="{BB962C8B-B14F-4D97-AF65-F5344CB8AC3E}">
        <p14:creationId xmlns:p14="http://schemas.microsoft.com/office/powerpoint/2010/main" val="1581529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1930B4E-309D-4A59-94DD-37775FE9B2C3}"/>
              </a:ext>
            </a:extLst>
          </p:cNvPr>
          <p:cNvSpPr txBox="1"/>
          <p:nvPr/>
        </p:nvSpPr>
        <p:spPr>
          <a:xfrm>
            <a:off x="679450" y="587375"/>
            <a:ext cx="42005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Lad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BA0410-5795-45EC-893C-8C933CAC3795}"/>
              </a:ext>
            </a:extLst>
          </p:cNvPr>
          <p:cNvSpPr txBox="1"/>
          <p:nvPr/>
        </p:nvSpPr>
        <p:spPr>
          <a:xfrm>
            <a:off x="5540367" y="537885"/>
            <a:ext cx="6764989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600" b="1">
                <a:solidFill>
                  <a:srgbClr val="F58800"/>
                </a:solidFill>
                <a:latin typeface="Tahoma"/>
              </a:rPr>
              <a:t>HCP Journey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2A6A67-3FA7-40A1-A17F-FC2F65CCC1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772" y="2479459"/>
            <a:ext cx="5494115" cy="26666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DF71DE9-3A68-4EA1-8221-5A0F172EBE5A}"/>
              </a:ext>
            </a:extLst>
          </p:cNvPr>
          <p:cNvSpPr txBox="1"/>
          <p:nvPr/>
        </p:nvSpPr>
        <p:spPr>
          <a:xfrm>
            <a:off x="184288" y="1233706"/>
            <a:ext cx="559090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he HCP-focused mapping of the level of product adoption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B5CFAFF-68AD-43DB-9B0B-B50E8CC84109}"/>
              </a:ext>
            </a:extLst>
          </p:cNvPr>
          <p:cNvSpPr txBox="1"/>
          <p:nvPr/>
        </p:nvSpPr>
        <p:spPr>
          <a:xfrm>
            <a:off x="6137414" y="1233705"/>
            <a:ext cx="559090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he execution-focused mapping of the touchpoints with an HCP.</a:t>
            </a:r>
          </a:p>
        </p:txBody>
      </p:sp>
      <p:pic>
        <p:nvPicPr>
          <p:cNvPr id="17" name="Picture 16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DB6095E-0CDC-4CC6-82DD-48FE40C955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4409" y="2479459"/>
            <a:ext cx="3958741" cy="253682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81F5A1A-EB68-4690-ABA1-66D103BA647D}"/>
              </a:ext>
            </a:extLst>
          </p:cNvPr>
          <p:cNvSpPr txBox="1"/>
          <p:nvPr/>
        </p:nvSpPr>
        <p:spPr>
          <a:xfrm>
            <a:off x="5900304" y="6023287"/>
            <a:ext cx="5547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Ladder + HCP Journey = ???</a:t>
            </a:r>
          </a:p>
        </p:txBody>
      </p:sp>
    </p:spTree>
    <p:extLst>
      <p:ext uri="{BB962C8B-B14F-4D97-AF65-F5344CB8AC3E}">
        <p14:creationId xmlns:p14="http://schemas.microsoft.com/office/powerpoint/2010/main" val="103267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34083" y="4641679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7"/>
            <a:ext cx="1948068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emonstrate that despite new treatments, unmet needs still remain, especially related to a balance of efficacy and safety</a:t>
            </a: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Uses a wide variety of treatments 1st line, including JAK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Occasionally uses JAKs but not consistently [high variation within segment – some are very high JAK users]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Uses a variety of products based on patient need &amp; guideline recommendation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4202668"/>
            <a:ext cx="1932114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ied with current option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mplacency/habi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n’t believe there are significant unmet needs that can be addressed by (another) JAK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ieve another MOA will be needed to address unmet need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mmunication gap between patients and HCPs that masks unmet needs/treatment gaps (especially Compassionates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Vid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</a:t>
            </a:r>
            <a:r>
              <a:rPr kumimoji="0" lang="en-GB" sz="7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ntext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: access challenge to car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ly competitive environment with comparisons between treatments hard to mak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eatment inertia and need to overcome mindset shif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ensure early positive experiences as proof of concept (and to share with peers)</a:t>
            </a: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Reflects on early JYSELECA experience &amp; positive efficacy outcomes compared with other JAK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Attends a peer-to peer discussion with local colleagues about their experiences with JYSELECA &amp; its safety profil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Attends a discussion with local expert about their experiences with JYSELECA &amp; its safety profil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4202667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wareness &amp; Acces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ccess to JYSELECA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access to sampling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experience with JYSELECA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familiarity with Galapagos and new relationship with rep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ifferenti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erceived lack of differentiation from RINVOQ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ees no difference in clinic relative to RINVOQ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egative Safety Hal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Residual JAK concerns from 1</a:t>
            </a:r>
            <a:r>
              <a:rPr kumimoji="0" lang="en-GB" sz="7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t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generati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linical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as a negative experience in a patient in first few patient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clarity of who the ideal JYSELECA patient i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20796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ifferentiate JYSELECA versus other JAKs, especially RINVOQ</a:t>
            </a: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Prescribes JYSELECA as their ‘go to’ JAK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Prescribes JYSELECA for some patients where safety is the main concern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Prescribes JYSELECA for some patients where safety &amp; simplicity are importa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4218343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action with their current JAK and no reason to chang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refer to have a wide armamentarium, rather than a go-t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ike to keep options open as new entries emerg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mpetitive messaging and share of voic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certainty around available JYSELELCA support services for HCPs and patients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sure of which patient population to expand usage i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20796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create an environment that facilitates exchange of positive experienc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Shares positive experiences with colleagu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Gains depth of experience in patients where safety is a concer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Monitors feedback &amp; safety signals in JYSELECA patient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4218343"/>
            <a:ext cx="1891780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egative experiences that temper their enthusiasm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Wanting to appear unbiased/unaligned with a bran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20955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identify, support, and create a platform for JYSELECA advocat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Advocates JYSELECA as JAK of ch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Expands the use of JYSELECA to different types of patients so ultimately JYSELECA becomes JAK of choic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Starts to use JYSELECA as first line JAK inhibito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4202668"/>
            <a:ext cx="1850151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 not have a JAK of choice and philosophically opposed to aligning with one produc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n’t have a platform from which to advocat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42370E2-98BB-4931-BF1C-AD27EED6B538}"/>
              </a:ext>
            </a:extLst>
          </p:cNvPr>
          <p:cNvSpPr/>
          <p:nvPr/>
        </p:nvSpPr>
        <p:spPr bwMode="auto">
          <a:xfrm>
            <a:off x="7321745" y="6418504"/>
            <a:ext cx="4442544" cy="366253"/>
          </a:xfrm>
          <a:prstGeom prst="rect">
            <a:avLst/>
          </a:prstGeom>
          <a:solidFill>
            <a:srgbClr val="7B8C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ummary of RA Workshop Discussion (1 of 2)</a:t>
            </a:r>
            <a:endParaRPr kumimoji="0" lang="en-GB" sz="16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32936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-79385" y="5296553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6"/>
            <a:ext cx="1948068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ignificant need for new treatment options – they already agree with this and are keen to try new options,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if efficacy is not compromised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eed for more safe treatment options that do not compromise on efficacy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cus on unmet needs from a patient perspective – less from an HCP perspectiv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met needs messaging : 1/3 patients are refractory, EULAR guidelines, (5messages in total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FAQ on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Vid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impac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5296554"/>
            <a:ext cx="1932114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 Aid…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Implementation Guid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earnJAKStat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ublished literature (cost of lack of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t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FAQ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eachJAKStat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MyMentum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drop material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6"/>
            <a:ext cx="1885612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ose to full data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efficacy, give opportunity to try – make it easy, but they will be interested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ose to full data incl safety, ref trusted peers/colleagues and hands on experienc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OL/Peer/trusted source perspectives on JYS safety and simplicity – ‘permission to try’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ow availabl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MoA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: selectivity (vs 1G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mprehensive clinical evidence : 3 CT and long term data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trength of balance story : full strength with safety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Reimbursement : (to be localised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and Patient Support Service (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ps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) / to be localised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5296553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 Aid…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Finch vide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vailable publication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(refer to channel preference to maximize interactions by segments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Portal (pending country site map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31729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inforce experience, share additional data freely, seed need to share with others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vocate trial and follow up re experience and expansion of trial us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hare/encourage patient feedback, patient perspectives, PIO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rporate suppor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and Patient Support Service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5312229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31729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ovide opportunities to share experience and discuss with others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patient types as experience is gained – give different ‘pegs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Monitors feedback &amp; safety signals in JYSELECA patient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rporate suppor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and Patient Support Serv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5312229"/>
            <a:ext cx="1891780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31972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OL opportunities – keeping in mind loyalty can prob not be expected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olidate experience to lead to JAK of choice ‘peg’]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olidate experience and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tn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feedback to lead to JAK of choice ‘peg’ and 1L us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rporate suppor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and Patient Support Servic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rtnership opportunitie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5296554"/>
            <a:ext cx="1850151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91E1D24-3F00-475E-AF4F-E5BAA97A3B9B}"/>
              </a:ext>
            </a:extLst>
          </p:cNvPr>
          <p:cNvSpPr/>
          <p:nvPr/>
        </p:nvSpPr>
        <p:spPr bwMode="auto">
          <a:xfrm>
            <a:off x="7722127" y="6418504"/>
            <a:ext cx="4042162" cy="366253"/>
          </a:xfrm>
          <a:prstGeom prst="rect">
            <a:avLst/>
          </a:prstGeom>
          <a:solidFill>
            <a:srgbClr val="7B8C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ummary of Workshop Discussion (2 of 2)</a:t>
            </a:r>
            <a:endParaRPr kumimoji="0" lang="en-GB" sz="16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00911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C23B6CF-857A-4DC8-9C06-DCF57E10E0D8}"/>
              </a:ext>
            </a:extLst>
          </p:cNvPr>
          <p:cNvSpPr/>
          <p:nvPr/>
        </p:nvSpPr>
        <p:spPr>
          <a:xfrm>
            <a:off x="3044631" y="292813"/>
            <a:ext cx="5858137" cy="625232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CA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B4B53"/>
              </a:solidFill>
              <a:effectLst/>
              <a:uLnTx/>
              <a:uFillTx/>
              <a:latin typeface="Anodina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679B81-4A76-4259-9107-FB2C65CD1968}"/>
              </a:ext>
            </a:extLst>
          </p:cNvPr>
          <p:cNvSpPr/>
          <p:nvPr/>
        </p:nvSpPr>
        <p:spPr>
          <a:xfrm>
            <a:off x="3246394" y="3417243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owered by Insight &amp; data (try to combine where possible to see 360 view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B57038-A9BC-41A7-AAC9-A5E1F8725F6A}"/>
              </a:ext>
            </a:extLst>
          </p:cNvPr>
          <p:cNvSpPr/>
          <p:nvPr/>
        </p:nvSpPr>
        <p:spPr>
          <a:xfrm>
            <a:off x="3246393" y="5791375"/>
            <a:ext cx="5338523" cy="25345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sed on fact, not feeling (where possible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6C5DC2-B625-4AAD-BC09-33268515C99A}"/>
              </a:ext>
            </a:extLst>
          </p:cNvPr>
          <p:cNvSpPr/>
          <p:nvPr/>
        </p:nvSpPr>
        <p:spPr>
          <a:xfrm>
            <a:off x="3044631" y="292814"/>
            <a:ext cx="5858137" cy="2665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Journey Princip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2D5B62-52ED-4213-9B01-739EC5AA8D9E}"/>
              </a:ext>
            </a:extLst>
          </p:cNvPr>
          <p:cNvSpPr/>
          <p:nvPr/>
        </p:nvSpPr>
        <p:spPr>
          <a:xfrm>
            <a:off x="3073630" y="568131"/>
            <a:ext cx="5800136" cy="26652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What is the priority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A4B85F-E2D4-4627-B6D9-B5B9EFEE693E}"/>
              </a:ext>
            </a:extLst>
          </p:cNvPr>
          <p:cNvSpPr/>
          <p:nvPr/>
        </p:nvSpPr>
        <p:spPr>
          <a:xfrm>
            <a:off x="3238003" y="4104813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Various access points (into journey)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F89659E-12AA-46D1-B920-738ECB533300}"/>
              </a:ext>
            </a:extLst>
          </p:cNvPr>
          <p:cNvSpPr/>
          <p:nvPr/>
        </p:nvSpPr>
        <p:spPr>
          <a:xfrm>
            <a:off x="3246394" y="2101651"/>
            <a:ext cx="5338523" cy="3373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dressing customer needs and preferences – leveraging market research (content, channel, style, time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1D2E8D8-0C4E-4F11-A849-08A86E69CA0E}"/>
              </a:ext>
            </a:extLst>
          </p:cNvPr>
          <p:cNvSpPr/>
          <p:nvPr/>
        </p:nvSpPr>
        <p:spPr>
          <a:xfrm>
            <a:off x="3246394" y="4438449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inked to key ev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07A5890-4597-4712-8C78-F9459EC9C239}"/>
              </a:ext>
            </a:extLst>
          </p:cNvPr>
          <p:cNvSpPr/>
          <p:nvPr/>
        </p:nvSpPr>
        <p:spPr>
          <a:xfrm>
            <a:off x="3246394" y="141641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flect brand plan and prioritization of activ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0FED1DB-334B-4ACA-AB40-E42B67AAA3C5}"/>
              </a:ext>
            </a:extLst>
          </p:cNvPr>
          <p:cNvSpPr/>
          <p:nvPr/>
        </p:nvSpPr>
        <p:spPr>
          <a:xfrm>
            <a:off x="3246394" y="175903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imp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E9FA38-E4BB-4CF8-A4C9-90FD0914F4BF}"/>
              </a:ext>
            </a:extLst>
          </p:cNvPr>
          <p:cNvSpPr/>
          <p:nvPr/>
        </p:nvSpPr>
        <p:spPr>
          <a:xfrm>
            <a:off x="3277503" y="2516555"/>
            <a:ext cx="5338523" cy="4081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ctionable today = channel maturity, content is there, or where consent is require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A19E0A2-78B7-4975-8E25-C095E9B11C95}"/>
              </a:ext>
            </a:extLst>
          </p:cNvPr>
          <p:cNvSpPr/>
          <p:nvPr/>
        </p:nvSpPr>
        <p:spPr>
          <a:xfrm>
            <a:off x="3246394" y="107379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ctical / Pragmatic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013502A-6976-4E6C-95C9-AE0F0419EB73}"/>
              </a:ext>
            </a:extLst>
          </p:cNvPr>
          <p:cNvCxnSpPr/>
          <p:nvPr/>
        </p:nvCxnSpPr>
        <p:spPr bwMode="auto">
          <a:xfrm flipV="1">
            <a:off x="8791574" y="914400"/>
            <a:ext cx="0" cy="5621947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lg" len="lg"/>
            <a:tailEnd type="triangle" w="lg" len="lg"/>
          </a:ln>
          <a:effectLst/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BF0B6E59-D7E7-4083-A9D4-8DC827711889}"/>
              </a:ext>
            </a:extLst>
          </p:cNvPr>
          <p:cNvSpPr/>
          <p:nvPr/>
        </p:nvSpPr>
        <p:spPr>
          <a:xfrm>
            <a:off x="3246394" y="3759863"/>
            <a:ext cx="5338523" cy="23041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‘Aligned to CRM/CDP’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1F807A5-71C0-489F-BF50-290205EED7CA}"/>
              </a:ext>
            </a:extLst>
          </p:cNvPr>
          <p:cNvSpPr/>
          <p:nvPr/>
        </p:nvSpPr>
        <p:spPr>
          <a:xfrm>
            <a:off x="3260723" y="5493839"/>
            <a:ext cx="5338523" cy="2094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everages digital and physical touchpoin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B421B9-88AE-4195-A676-C6C18320FBFC}"/>
              </a:ext>
            </a:extLst>
          </p:cNvPr>
          <p:cNvSpPr/>
          <p:nvPr/>
        </p:nvSpPr>
        <p:spPr>
          <a:xfrm>
            <a:off x="3269113" y="4768560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ourneys are connected and not in isolation</a:t>
            </a:r>
          </a:p>
        </p:txBody>
      </p:sp>
    </p:spTree>
    <p:extLst>
      <p:ext uri="{BB962C8B-B14F-4D97-AF65-F5344CB8AC3E}">
        <p14:creationId xmlns:p14="http://schemas.microsoft.com/office/powerpoint/2010/main" val="4096319990"/>
      </p:ext>
    </p:extLst>
  </p:cSld>
  <p:clrMapOvr>
    <a:masterClrMapping/>
  </p:clrMapOvr>
  <p:transition>
    <p:wipe dir="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AF8BD-E457-4D19-9F7A-A39E71231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ool Comparison</a:t>
            </a:r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2328FEC1-5F83-4928-BA52-BC86066531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4613" y="1270068"/>
            <a:ext cx="2131410" cy="904235"/>
          </a:xfrm>
          <a:prstGeom prst="rect">
            <a:avLst/>
          </a:prstGeom>
        </p:spPr>
      </p:pic>
      <p:pic>
        <p:nvPicPr>
          <p:cNvPr id="9" name="Picture 8" descr="A picture containing text, clipart, sign&#10;&#10;Description automatically generated">
            <a:extLst>
              <a:ext uri="{FF2B5EF4-FFF2-40B4-BE49-F238E27FC236}">
                <a16:creationId xmlns:a16="http://schemas.microsoft.com/office/drawing/2014/main" id="{CC8AF076-0487-4827-B699-62A17B0F05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9516" y="1513392"/>
            <a:ext cx="2590554" cy="481013"/>
          </a:xfrm>
          <a:prstGeom prst="rect">
            <a:avLst/>
          </a:prstGeom>
        </p:spPr>
      </p:pic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44150B8F-49F8-4A75-ACE4-0139266FDF4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11" b="29472"/>
          <a:stretch/>
        </p:blipFill>
        <p:spPr>
          <a:xfrm>
            <a:off x="9017413" y="1466849"/>
            <a:ext cx="2717388" cy="575181"/>
          </a:xfrm>
          <a:prstGeom prst="rect">
            <a:avLst/>
          </a:prstGeom>
        </p:spPr>
      </p:pic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1D8652F0-08E2-40C8-BCC7-D0D462A06A40}"/>
              </a:ext>
            </a:extLst>
          </p:cNvPr>
          <p:cNvGraphicFramePr>
            <a:graphicFrameLocks noGrp="1"/>
          </p:cNvGraphicFramePr>
          <p:nvPr/>
        </p:nvGraphicFramePr>
        <p:xfrm>
          <a:off x="276225" y="2174302"/>
          <a:ext cx="11487151" cy="37475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43307">
                  <a:extLst>
                    <a:ext uri="{9D8B030D-6E8A-4147-A177-3AD203B41FA5}">
                      <a16:colId xmlns:a16="http://schemas.microsoft.com/office/drawing/2014/main" val="3191271448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3749805036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1305512919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1708123540"/>
                    </a:ext>
                  </a:extLst>
                </a:gridCol>
              </a:tblGrid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>
                          <a:solidFill>
                            <a:schemeClr val="accent6"/>
                          </a:solidFill>
                        </a:rPr>
                        <a:t>Easily Editable – Basic Change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953681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>
                          <a:solidFill>
                            <a:schemeClr val="accent6"/>
                          </a:solidFill>
                        </a:rPr>
                        <a:t>Easily Editable – Structural Change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6608063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>
                          <a:solidFill>
                            <a:schemeClr val="accent6"/>
                          </a:solidFill>
                        </a:rPr>
                        <a:t>Learning Curv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8322089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>
                          <a:solidFill>
                            <a:schemeClr val="accent6"/>
                          </a:solidFill>
                        </a:rPr>
                        <a:t>Live Collabor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6171345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>
                          <a:solidFill>
                            <a:schemeClr val="accent6"/>
                          </a:solidFill>
                        </a:rPr>
                        <a:t>Flexibilit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918572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>
                          <a:solidFill>
                            <a:schemeClr val="accent6"/>
                          </a:solidFill>
                        </a:rPr>
                        <a:t>Readabilit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8787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>
                          <a:solidFill>
                            <a:schemeClr val="accent6"/>
                          </a:solidFill>
                        </a:rPr>
                        <a:t>Full map visualis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127951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>
                          <a:solidFill>
                            <a:schemeClr val="accent6"/>
                          </a:solidFill>
                        </a:rPr>
                        <a:t>Guided Journey Cre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059717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marL="0" marR="0" lvl="0" indent="0" algn="r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>
                          <a:solidFill>
                            <a:schemeClr val="accent6"/>
                          </a:solidFill>
                        </a:rPr>
                        <a:t>Cost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07532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91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D180-47DE-4017-B64E-A97724AE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ustellence</a:t>
            </a:r>
          </a:p>
        </p:txBody>
      </p:sp>
      <p:pic>
        <p:nvPicPr>
          <p:cNvPr id="4" name="Picture 3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5AC11EE-867A-49BD-9D59-4ED21EA9BC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865706"/>
            <a:ext cx="5269085" cy="337651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0003C2E-EEB6-4539-8368-C5746ABF8A39}"/>
              </a:ext>
            </a:extLst>
          </p:cNvPr>
          <p:cNvSpPr txBox="1"/>
          <p:nvPr/>
        </p:nvSpPr>
        <p:spPr>
          <a:xfrm>
            <a:off x="757954" y="822577"/>
            <a:ext cx="88241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fter comparing a multitude of tools, we believe Custellence has the best balance of features vs simplicity, with simplicity being key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B308F3-1948-4AFB-A493-9A6F9776EBAC}"/>
              </a:ext>
            </a:extLst>
          </p:cNvPr>
          <p:cNvSpPr txBox="1"/>
          <p:nvPr/>
        </p:nvSpPr>
        <p:spPr>
          <a:xfrm>
            <a:off x="729379" y="2181225"/>
            <a:ext cx="526908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o journey mapping tools discovered have simple integrations with CR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ll tools allow for exporting the journeys, however exporting in aspect ratio suitable for PPT always requires some finess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ther tools have more functionality, or more customisation, but at a simplicity cost that is too significant. </a:t>
            </a:r>
          </a:p>
        </p:txBody>
      </p:sp>
    </p:spTree>
    <p:extLst>
      <p:ext uri="{BB962C8B-B14F-4D97-AF65-F5344CB8AC3E}">
        <p14:creationId xmlns:p14="http://schemas.microsoft.com/office/powerpoint/2010/main" val="1495903228"/>
      </p:ext>
    </p:extLst>
  </p:cSld>
  <p:clrMapOvr>
    <a:masterClrMapping/>
  </p:clrMapOvr>
  <p:transition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1_Office Theme">
  <a:themeElements>
    <a:clrScheme name="BRAND X_edit">
      <a:dk1>
        <a:srgbClr val="000000"/>
      </a:dk1>
      <a:lt1>
        <a:srgbClr val="FFFFFF"/>
      </a:lt1>
      <a:dk2>
        <a:srgbClr val="585858"/>
      </a:dk2>
      <a:lt2>
        <a:srgbClr val="F4F4F4"/>
      </a:lt2>
      <a:accent1>
        <a:srgbClr val="005DAB"/>
      </a:accent1>
      <a:accent2>
        <a:srgbClr val="A3C8C8"/>
      </a:accent2>
      <a:accent3>
        <a:srgbClr val="A5A6A5"/>
      </a:accent3>
      <a:accent4>
        <a:srgbClr val="A0B266"/>
      </a:accent4>
      <a:accent5>
        <a:srgbClr val="DEB3A8"/>
      </a:accent5>
      <a:accent6>
        <a:srgbClr val="C1B29C"/>
      </a:accent6>
      <a:hlink>
        <a:srgbClr val="005DAB"/>
      </a:hlink>
      <a:folHlink>
        <a:srgbClr val="A4C8C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9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4.xml><?xml version="1.0" encoding="utf-8"?>
<a:theme xmlns:a="http://schemas.openxmlformats.org/drawingml/2006/main" name="10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F1707C2-D003-43D1-BF25-62AC7AC538B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A8ACD10-D57E-480E-B72A-111FED756B9B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B79D68E-7CC3-4AD4-91BB-DC73D1730694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62</Words>
  <Application>Microsoft Macintosh PowerPoint</Application>
  <PresentationFormat>Widescreen</PresentationFormat>
  <Paragraphs>292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Anodina</vt:lpstr>
      <vt:lpstr>Arial</vt:lpstr>
      <vt:lpstr>Calibri</vt:lpstr>
      <vt:lpstr>Calibri Light</vt:lpstr>
      <vt:lpstr>Tahoma</vt:lpstr>
      <vt:lpstr>Times</vt:lpstr>
      <vt:lpstr>Wingdings</vt:lpstr>
      <vt:lpstr>Galapagos_template_Basic</vt:lpstr>
      <vt:lpstr>1_Office Theme</vt:lpstr>
      <vt:lpstr>9_Galapagos_template_Basic</vt:lpstr>
      <vt:lpstr>10_Galapagos_template_Basic</vt:lpstr>
      <vt:lpstr>think-cell Slide</vt:lpstr>
      <vt:lpstr>PowerPoint Presentation</vt:lpstr>
      <vt:lpstr>Objectives</vt:lpstr>
      <vt:lpstr>Recap</vt:lpstr>
      <vt:lpstr>PowerPoint Presentation</vt:lpstr>
      <vt:lpstr>PowerPoint Presentation</vt:lpstr>
      <vt:lpstr>PowerPoint Presentation</vt:lpstr>
      <vt:lpstr>PowerPoint Presentation</vt:lpstr>
      <vt:lpstr>Tool Comparison</vt:lpstr>
      <vt:lpstr>Custellence</vt:lpstr>
      <vt:lpstr>HCP Journeys Creation 2</vt:lpstr>
      <vt:lpstr>Objectives</vt:lpstr>
      <vt:lpstr>Template Updates</vt:lpstr>
      <vt:lpstr>PowerPoint Presentation</vt:lpstr>
      <vt:lpstr>PowerPoint Presentation</vt:lpstr>
      <vt:lpstr># of Touchpoints</vt:lpstr>
      <vt:lpstr>Actions</vt:lpstr>
      <vt:lpstr>Scenarios Type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reth Allott</dc:creator>
  <cp:lastModifiedBy>Nick MacLeod</cp:lastModifiedBy>
  <cp:revision>1</cp:revision>
  <dcterms:created xsi:type="dcterms:W3CDTF">2021-04-05T15:41:38Z</dcterms:created>
  <dcterms:modified xsi:type="dcterms:W3CDTF">2021-04-16T10:38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